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58" r:id="rId4"/>
  </p:sldMasterIdLst>
  <p:notesMasterIdLst>
    <p:notesMasterId r:id="rId7"/>
  </p:notesMasterIdLst>
  <p:handoutMasterIdLst>
    <p:handoutMasterId r:id="rId8"/>
  </p:handoutMasterIdLst>
  <p:sldIdLst>
    <p:sldId id="303" r:id="rId5"/>
    <p:sldId id="302" r:id="rId6"/>
  </p:sldIdLst>
  <p:sldSz cx="12188825" cy="6858000"/>
  <p:notesSz cx="6858000" cy="9296400"/>
  <p:embeddedFontLst>
    <p:embeddedFont>
      <p:font typeface="Calibri" panose="020F0502020204030204" pitchFamily="34" charset="0"/>
      <p:regular r:id="rId9"/>
      <p:bold r:id="rId10"/>
      <p:italic r:id="rId11"/>
      <p:boldItalic r:id="rId12"/>
    </p:embeddedFont>
    <p:embeddedFont>
      <p:font typeface="Segoe UI" panose="020B0502040204020203" pitchFamily="34" charset="0"/>
      <p:regular r:id="rId13"/>
      <p:bold r:id="rId14"/>
      <p:italic r:id="rId15"/>
      <p:boldItalic r:id="rId16"/>
    </p:embeddedFont>
    <p:embeddedFont>
      <p:font typeface="Segoe UI Semibold" panose="020B0702040204020203" pitchFamily="34" charset="0"/>
      <p:regular r:id="rId17"/>
      <p:bold r:id="rId18"/>
      <p:italic r:id="rId19"/>
      <p:boldItalic r:id="rId20"/>
    </p:embeddedFont>
  </p:embeddedFontLst>
  <p:custDataLst>
    <p:tags r:id="rId21"/>
  </p:custDataLst>
  <p:defaultTextStyle>
    <a:defPPr>
      <a:defRPr lang="en-US"/>
    </a:defPPr>
    <a:lvl1pPr marL="0" algn="l" defTabSz="38085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0850" algn="l" defTabSz="38085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61701" algn="l" defTabSz="38085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42551" algn="l" defTabSz="38085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23400" algn="l" defTabSz="38085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04251" algn="l" defTabSz="38085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285101" algn="l" defTabSz="38085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665951" algn="l" defTabSz="38085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046802" algn="l" defTabSz="38085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C94A123-7987-4F19-8071-061A44AAAC5E}">
          <p14:sldIdLst>
            <p14:sldId id="303"/>
            <p14:sldId id="302"/>
          </p14:sldIdLst>
        </p14:section>
      </p14:sectionLst>
    </p:ext>
    <p:ext uri="{EFAFB233-063F-42B5-8137-9DF3F51BA10A}">
      <p15:sldGuideLst xmlns:p15="http://schemas.microsoft.com/office/powerpoint/2012/main">
        <p15:guide id="10" pos="263" userDrawn="1">
          <p15:clr>
            <a:srgbClr val="A4A3A4"/>
          </p15:clr>
        </p15:guide>
        <p15:guide id="12" orient="horz" pos="131" userDrawn="1">
          <p15:clr>
            <a:srgbClr val="A4A3A4"/>
          </p15:clr>
        </p15:guide>
        <p15:guide id="14" pos="7415" userDrawn="1">
          <p15:clr>
            <a:srgbClr val="A4A3A4"/>
          </p15:clr>
        </p15:guide>
        <p15:guide id="20" orient="horz" pos="40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ess Andersen" initials="" lastIdx="1" clrIdx="0"/>
  <p:cmAuthor id="1" name="Michelle Davis" initials="MD" lastIdx="21" clrIdx="1"/>
  <p:cmAuthor id="2" name="Hanna Boyle" initials="HB" lastIdx="2" clrIdx="2"/>
  <p:cmAuthor id="3" name="Carissa Wright (Touch Worldwide)" initials="CW" lastIdx="2" clrIdx="3"/>
  <p:cmAuthor id="4" name="Brook Bower" initials="BB" lastIdx="15" clrIdx="4"/>
  <p:cmAuthor id="5" name="Gail Manuguid (LCA)" initials="GM(" lastIdx="4" clrIdx="5"/>
  <p:cmAuthor id="6" name="Joe Gura" initials="JG" lastIdx="10" clrIdx="6">
    <p:extLst>
      <p:ext uri="{19B8F6BF-5375-455C-9EA6-DF929625EA0E}">
        <p15:presenceInfo xmlns:p15="http://schemas.microsoft.com/office/powerpoint/2012/main" userId="S-1-5-21-2127521184-1604012920-1887927527-20345457" providerId="AD"/>
      </p:ext>
    </p:extLst>
  </p:cmAuthor>
  <p:cmAuthor id="7" name="Kathryn Courtney" initials="KC" lastIdx="30" clrIdx="7">
    <p:extLst>
      <p:ext uri="{19B8F6BF-5375-455C-9EA6-DF929625EA0E}">
        <p15:presenceInfo xmlns:p15="http://schemas.microsoft.com/office/powerpoint/2012/main" userId="Kathryn Courtney" providerId="None"/>
      </p:ext>
    </p:extLst>
  </p:cmAuthor>
  <p:cmAuthor id="8" name="Danielle Dargavel" initials="DD" lastIdx="15" clrIdx="8">
    <p:extLst>
      <p:ext uri="{19B8F6BF-5375-455C-9EA6-DF929625EA0E}">
        <p15:presenceInfo xmlns:p15="http://schemas.microsoft.com/office/powerpoint/2012/main" userId="Danielle Dargavel" providerId="None"/>
      </p:ext>
    </p:extLst>
  </p:cmAuthor>
  <p:cmAuthor id="9" name="Kathryn Courtney (Audienz LLC)" initials="KC(L" lastIdx="17" clrIdx="9">
    <p:extLst>
      <p:ext uri="{19B8F6BF-5375-455C-9EA6-DF929625EA0E}">
        <p15:presenceInfo xmlns:p15="http://schemas.microsoft.com/office/powerpoint/2012/main" userId="Kathryn Courtney (Audienz LLC)" providerId="None"/>
      </p:ext>
    </p:extLst>
  </p:cmAuthor>
  <p:cmAuthor id="10" name="Greg" initials="BT" lastIdx="0" clrIdx="10"/>
  <p:cmAuthor id="11" name="Travis Nesse" initials="TN" lastIdx="31" clrIdx="11">
    <p:extLst>
      <p:ext uri="{19B8F6BF-5375-455C-9EA6-DF929625EA0E}">
        <p15:presenceInfo xmlns:p15="http://schemas.microsoft.com/office/powerpoint/2012/main" userId="Travis Nesse" providerId="None"/>
      </p:ext>
    </p:extLst>
  </p:cmAuthor>
  <p:cmAuthor id="12" name="Danielle" initials="D" lastIdx="5" clrIdx="12">
    <p:extLst>
      <p:ext uri="{19B8F6BF-5375-455C-9EA6-DF929625EA0E}">
        <p15:presenceInfo xmlns:p15="http://schemas.microsoft.com/office/powerpoint/2012/main" userId="Danielle" providerId="None"/>
      </p:ext>
    </p:extLst>
  </p:cmAuthor>
  <p:cmAuthor id="13" name="James Nesse" initials="JN" lastIdx="19" clrIdx="13">
    <p:extLst>
      <p:ext uri="{19B8F6BF-5375-455C-9EA6-DF929625EA0E}">
        <p15:presenceInfo xmlns:p15="http://schemas.microsoft.com/office/powerpoint/2012/main" userId="209d8c40762552e6" providerId="Windows Live"/>
      </p:ext>
    </p:extLst>
  </p:cmAuthor>
  <p:cmAuthor id="14" name="Mary Lisa Newman" initials="MLN" lastIdx="38" clrIdx="14">
    <p:extLst>
      <p:ext uri="{19B8F6BF-5375-455C-9EA6-DF929625EA0E}">
        <p15:presenceInfo xmlns:p15="http://schemas.microsoft.com/office/powerpoint/2012/main" userId="Mary Lisa Newman" providerId="None"/>
      </p:ext>
    </p:extLst>
  </p:cmAuthor>
  <p:cmAuthor id="15" name="Adrienne Krefft" initials="AK" lastIdx="11" clrIdx="15">
    <p:extLst>
      <p:ext uri="{19B8F6BF-5375-455C-9EA6-DF929625EA0E}">
        <p15:presenceInfo xmlns:p15="http://schemas.microsoft.com/office/powerpoint/2012/main" userId="S::adkrefft@microsoft.com::5324d489-71df-426f-9522-b8707af7c6b7" providerId="AD"/>
      </p:ext>
    </p:extLst>
  </p:cmAuthor>
  <p:cmAuthor id="16" name="Andrew Childs" initials="AC" lastIdx="12" clrIdx="16">
    <p:extLst>
      <p:ext uri="{19B8F6BF-5375-455C-9EA6-DF929625EA0E}">
        <p15:presenceInfo xmlns:p15="http://schemas.microsoft.com/office/powerpoint/2012/main" userId="Andrew Childs" providerId="None"/>
      </p:ext>
    </p:extLst>
  </p:cmAuthor>
  <p:cmAuthor id="17" name="Melissa Hovis" initials="MH" lastIdx="6" clrIdx="17">
    <p:extLst>
      <p:ext uri="{19B8F6BF-5375-455C-9EA6-DF929625EA0E}">
        <p15:presenceInfo xmlns:p15="http://schemas.microsoft.com/office/powerpoint/2012/main" userId="S-1-12-1-3347228509-1226612902-1976318136-3020564244" providerId="AD"/>
      </p:ext>
    </p:extLst>
  </p:cmAuthor>
  <p:cmAuthor id="18" name="Astha Malik" initials="AM" lastIdx="5" clrIdx="18">
    <p:extLst>
      <p:ext uri="{19B8F6BF-5375-455C-9EA6-DF929625EA0E}">
        <p15:presenceInfo xmlns:p15="http://schemas.microsoft.com/office/powerpoint/2012/main" userId="S::asmalik@microsoft.com::f2c76ab3-2e1e-49d0-a2ea-fa8f3eb399fd" providerId="AD"/>
      </p:ext>
    </p:extLst>
  </p:cmAuthor>
  <p:cmAuthor id="19" name="Mary Lisa Newman" initials="MLN [2]" lastIdx="1" clrIdx="19">
    <p:extLst>
      <p:ext uri="{19B8F6BF-5375-455C-9EA6-DF929625EA0E}">
        <p15:presenceInfo xmlns:p15="http://schemas.microsoft.com/office/powerpoint/2012/main" userId="S::marylisa@audienz.com::9c8cba21-67a1-4aa9-98ba-c4ca1eda0aa0" providerId="AD"/>
      </p:ext>
    </p:extLst>
  </p:cmAuthor>
  <p:cmAuthor id="20" name="Connor Schmidt" initials="CS" lastIdx="1" clrIdx="20">
    <p:extLst>
      <p:ext uri="{19B8F6BF-5375-455C-9EA6-DF929625EA0E}">
        <p15:presenceInfo xmlns:p15="http://schemas.microsoft.com/office/powerpoint/2012/main" userId="S::connor@audienz.com::09332ba3-bace-4762-933e-6733a8e2197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007EE2"/>
    <a:srgbClr val="003D70"/>
    <a:srgbClr val="0078D4"/>
    <a:srgbClr val="0072C6"/>
    <a:srgbClr val="464646"/>
    <a:srgbClr val="848484"/>
    <a:srgbClr val="005695"/>
    <a:srgbClr val="E6E6E6"/>
    <a:srgbClr val="0078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F021FE0-DB22-1E0C-CD00-80A396C2C463}" v="28" dt="2020-07-29T17:36:32.18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6327"/>
  </p:normalViewPr>
  <p:slideViewPr>
    <p:cSldViewPr snapToGrid="0">
      <p:cViewPr varScale="1">
        <p:scale>
          <a:sx n="82" d="100"/>
          <a:sy n="82" d="100"/>
        </p:scale>
        <p:origin x="786" y="60"/>
      </p:cViewPr>
      <p:guideLst>
        <p:guide pos="263"/>
        <p:guide orient="horz" pos="131"/>
        <p:guide pos="7415"/>
        <p:guide orient="horz" pos="40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7" d="100"/>
          <a:sy n="67" d="100"/>
        </p:scale>
        <p:origin x="3312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font" Target="fonts/font5.fntdata"/><Relationship Id="rId18" Type="http://schemas.openxmlformats.org/officeDocument/2006/relationships/font" Target="fonts/font10.fntdata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4.fntdata"/><Relationship Id="rId17" Type="http://schemas.openxmlformats.org/officeDocument/2006/relationships/font" Target="fonts/font9.fntdata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font" Target="fonts/font8.fntdata"/><Relationship Id="rId20" Type="http://schemas.openxmlformats.org/officeDocument/2006/relationships/font" Target="fonts/font12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font" Target="fonts/font3.fntdata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font" Target="fonts/font7.fntdata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font" Target="fonts/font2.fntdata"/><Relationship Id="rId19" Type="http://schemas.openxmlformats.org/officeDocument/2006/relationships/font" Target="fonts/font11.fntdata"/><Relationship Id="rId4" Type="http://schemas.openxmlformats.org/officeDocument/2006/relationships/slideMaster" Target="slideMasters/slideMaster1.xml"/><Relationship Id="rId9" Type="http://schemas.openxmlformats.org/officeDocument/2006/relationships/font" Target="fonts/font1.fntdata"/><Relationship Id="rId14" Type="http://schemas.openxmlformats.org/officeDocument/2006/relationships/font" Target="fonts/font6.fntdata"/><Relationship Id="rId22" Type="http://schemas.openxmlformats.org/officeDocument/2006/relationships/commentAuthors" Target="commentAuthors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Quincy Kosena" userId="34552e9c-390f-40b5-8a42-f626db2682ad" providerId="ADAL" clId="{B54E3DED-CDAD-594C-83E2-B95814F1A094}"/>
    <pc:docChg chg="modSld">
      <pc:chgData name="Quincy Kosena" userId="34552e9c-390f-40b5-8a42-f626db2682ad" providerId="ADAL" clId="{B54E3DED-CDAD-594C-83E2-B95814F1A094}" dt="2020-06-29T18:52:13.463" v="2"/>
      <pc:docMkLst>
        <pc:docMk/>
      </pc:docMkLst>
      <pc:sldChg chg="modSp modTransition">
        <pc:chgData name="Quincy Kosena" userId="34552e9c-390f-40b5-8a42-f626db2682ad" providerId="ADAL" clId="{B54E3DED-CDAD-594C-83E2-B95814F1A094}" dt="2020-06-29T18:52:13.463" v="2"/>
        <pc:sldMkLst>
          <pc:docMk/>
          <pc:sldMk cId="1562976763" sldId="302"/>
        </pc:sldMkLst>
        <pc:spChg chg="mod">
          <ac:chgData name="Quincy Kosena" userId="34552e9c-390f-40b5-8a42-f626db2682ad" providerId="ADAL" clId="{B54E3DED-CDAD-594C-83E2-B95814F1A094}" dt="2020-06-29T18:51:20.109" v="1" actId="20577"/>
          <ac:spMkLst>
            <pc:docMk/>
            <pc:sldMk cId="1562976763" sldId="302"/>
            <ac:spMk id="109" creationId="{648252A8-88CA-4D36-BFAC-3087EF7D563D}"/>
          </ac:spMkLst>
        </pc:spChg>
      </pc:sldChg>
    </pc:docChg>
  </pc:docChgLst>
  <pc:docChgLst>
    <pc:chgData name="Travis Nesse" userId="7f5cd6f3-7534-4332-8f38-a3b44d62a5a5" providerId="ADAL" clId="{5453E09B-1CD2-45CF-B668-DFE6F9963229}"/>
    <pc:docChg chg="undo custSel addSld delSld modSld sldOrd modSection">
      <pc:chgData name="Travis Nesse" userId="7f5cd6f3-7534-4332-8f38-a3b44d62a5a5" providerId="ADAL" clId="{5453E09B-1CD2-45CF-B668-DFE6F9963229}" dt="2020-06-26T18:34:48.968" v="537" actId="47"/>
      <pc:docMkLst>
        <pc:docMk/>
      </pc:docMkLst>
      <pc:sldChg chg="del">
        <pc:chgData name="Travis Nesse" userId="7f5cd6f3-7534-4332-8f38-a3b44d62a5a5" providerId="ADAL" clId="{5453E09B-1CD2-45CF-B668-DFE6F9963229}" dt="2020-06-26T18:26:42.002" v="200" actId="47"/>
        <pc:sldMkLst>
          <pc:docMk/>
          <pc:sldMk cId="2702476381" sldId="300"/>
        </pc:sldMkLst>
      </pc:sldChg>
      <pc:sldChg chg="addSp delSp modSp add del">
        <pc:chgData name="Travis Nesse" userId="7f5cd6f3-7534-4332-8f38-a3b44d62a5a5" providerId="ADAL" clId="{5453E09B-1CD2-45CF-B668-DFE6F9963229}" dt="2020-06-26T18:34:48.968" v="537" actId="47"/>
        <pc:sldMkLst>
          <pc:docMk/>
          <pc:sldMk cId="4268687313" sldId="301"/>
        </pc:sldMkLst>
        <pc:spChg chg="add mod">
          <ac:chgData name="Travis Nesse" userId="7f5cd6f3-7534-4332-8f38-a3b44d62a5a5" providerId="ADAL" clId="{5453E09B-1CD2-45CF-B668-DFE6F9963229}" dt="2020-06-26T18:17:18.513" v="77" actId="207"/>
          <ac:spMkLst>
            <pc:docMk/>
            <pc:sldMk cId="4268687313" sldId="301"/>
            <ac:spMk id="5" creationId="{92EFB6BD-A7D8-473E-8CD3-E8D8B5EE782F}"/>
          </ac:spMkLst>
        </pc:spChg>
        <pc:spChg chg="add mod ord">
          <ac:chgData name="Travis Nesse" userId="7f5cd6f3-7534-4332-8f38-a3b44d62a5a5" providerId="ADAL" clId="{5453E09B-1CD2-45CF-B668-DFE6F9963229}" dt="2020-06-26T18:18:17.958" v="84" actId="167"/>
          <ac:spMkLst>
            <pc:docMk/>
            <pc:sldMk cId="4268687313" sldId="301"/>
            <ac:spMk id="7" creationId="{381C5FF9-7E97-4FAC-8DC0-DF1B5B7F7F47}"/>
          </ac:spMkLst>
        </pc:spChg>
        <pc:spChg chg="add mod ord">
          <ac:chgData name="Travis Nesse" userId="7f5cd6f3-7534-4332-8f38-a3b44d62a5a5" providerId="ADAL" clId="{5453E09B-1CD2-45CF-B668-DFE6F9963229}" dt="2020-06-26T18:21:42.537" v="136" actId="207"/>
          <ac:spMkLst>
            <pc:docMk/>
            <pc:sldMk cId="4268687313" sldId="301"/>
            <ac:spMk id="8" creationId="{A0BFB5B8-D1B0-4010-A135-75468AD56EAE}"/>
          </ac:spMkLst>
        </pc:spChg>
        <pc:spChg chg="add del">
          <ac:chgData name="Travis Nesse" userId="7f5cd6f3-7534-4332-8f38-a3b44d62a5a5" providerId="ADAL" clId="{5453E09B-1CD2-45CF-B668-DFE6F9963229}" dt="2020-06-26T18:21:05.493" v="128" actId="11529"/>
          <ac:spMkLst>
            <pc:docMk/>
            <pc:sldMk cId="4268687313" sldId="301"/>
            <ac:spMk id="9" creationId="{29C3C446-15E0-4466-9A03-972B1173E786}"/>
          </ac:spMkLst>
        </pc:spChg>
        <pc:spChg chg="del">
          <ac:chgData name="Travis Nesse" userId="7f5cd6f3-7534-4332-8f38-a3b44d62a5a5" providerId="ADAL" clId="{5453E09B-1CD2-45CF-B668-DFE6F9963229}" dt="2020-06-26T18:16:06.846" v="2" actId="478"/>
          <ac:spMkLst>
            <pc:docMk/>
            <pc:sldMk cId="4268687313" sldId="301"/>
            <ac:spMk id="38" creationId="{2D77133A-EFCB-42BD-81EF-7BB805D163A2}"/>
          </ac:spMkLst>
        </pc:spChg>
        <pc:spChg chg="del">
          <ac:chgData name="Travis Nesse" userId="7f5cd6f3-7534-4332-8f38-a3b44d62a5a5" providerId="ADAL" clId="{5453E09B-1CD2-45CF-B668-DFE6F9963229}" dt="2020-06-26T18:16:06.183" v="1" actId="478"/>
          <ac:spMkLst>
            <pc:docMk/>
            <pc:sldMk cId="4268687313" sldId="301"/>
            <ac:spMk id="39" creationId="{5A227718-FD9C-440E-BA32-3C2AE7D4DF5F}"/>
          </ac:spMkLst>
        </pc:spChg>
        <pc:spChg chg="del">
          <ac:chgData name="Travis Nesse" userId="7f5cd6f3-7534-4332-8f38-a3b44d62a5a5" providerId="ADAL" clId="{5453E09B-1CD2-45CF-B668-DFE6F9963229}" dt="2020-06-26T18:16:06.183" v="1" actId="478"/>
          <ac:spMkLst>
            <pc:docMk/>
            <pc:sldMk cId="4268687313" sldId="301"/>
            <ac:spMk id="40" creationId="{AFBA1038-C33B-40BA-B8B9-8B071DFF273B}"/>
          </ac:spMkLst>
        </pc:spChg>
        <pc:spChg chg="del">
          <ac:chgData name="Travis Nesse" userId="7f5cd6f3-7534-4332-8f38-a3b44d62a5a5" providerId="ADAL" clId="{5453E09B-1CD2-45CF-B668-DFE6F9963229}" dt="2020-06-26T18:16:06.183" v="1" actId="478"/>
          <ac:spMkLst>
            <pc:docMk/>
            <pc:sldMk cId="4268687313" sldId="301"/>
            <ac:spMk id="43" creationId="{7382C638-F1F6-4588-9A64-9B6D1CE8904F}"/>
          </ac:spMkLst>
        </pc:spChg>
        <pc:spChg chg="del">
          <ac:chgData name="Travis Nesse" userId="7f5cd6f3-7534-4332-8f38-a3b44d62a5a5" providerId="ADAL" clId="{5453E09B-1CD2-45CF-B668-DFE6F9963229}" dt="2020-06-26T18:16:06.183" v="1" actId="478"/>
          <ac:spMkLst>
            <pc:docMk/>
            <pc:sldMk cId="4268687313" sldId="301"/>
            <ac:spMk id="44" creationId="{8A4C2CB7-AD8B-4F9A-A34F-1FFA961B4A49}"/>
          </ac:spMkLst>
        </pc:spChg>
        <pc:spChg chg="del">
          <ac:chgData name="Travis Nesse" userId="7f5cd6f3-7534-4332-8f38-a3b44d62a5a5" providerId="ADAL" clId="{5453E09B-1CD2-45CF-B668-DFE6F9963229}" dt="2020-06-26T18:16:06.183" v="1" actId="478"/>
          <ac:spMkLst>
            <pc:docMk/>
            <pc:sldMk cId="4268687313" sldId="301"/>
            <ac:spMk id="45" creationId="{AA706161-2B84-4D6E-8A6D-6F25B42C1631}"/>
          </ac:spMkLst>
        </pc:spChg>
        <pc:spChg chg="del">
          <ac:chgData name="Travis Nesse" userId="7f5cd6f3-7534-4332-8f38-a3b44d62a5a5" providerId="ADAL" clId="{5453E09B-1CD2-45CF-B668-DFE6F9963229}" dt="2020-06-26T18:16:06.183" v="1" actId="478"/>
          <ac:spMkLst>
            <pc:docMk/>
            <pc:sldMk cId="4268687313" sldId="301"/>
            <ac:spMk id="46" creationId="{B2CFA3CB-831C-4490-99B1-520768885A3A}"/>
          </ac:spMkLst>
        </pc:spChg>
        <pc:spChg chg="del">
          <ac:chgData name="Travis Nesse" userId="7f5cd6f3-7534-4332-8f38-a3b44d62a5a5" providerId="ADAL" clId="{5453E09B-1CD2-45CF-B668-DFE6F9963229}" dt="2020-06-26T18:16:06.183" v="1" actId="478"/>
          <ac:spMkLst>
            <pc:docMk/>
            <pc:sldMk cId="4268687313" sldId="301"/>
            <ac:spMk id="47" creationId="{4886C7CC-6395-4973-BB62-D1A1DD3EDA17}"/>
          </ac:spMkLst>
        </pc:spChg>
        <pc:spChg chg="del">
          <ac:chgData name="Travis Nesse" userId="7f5cd6f3-7534-4332-8f38-a3b44d62a5a5" providerId="ADAL" clId="{5453E09B-1CD2-45CF-B668-DFE6F9963229}" dt="2020-06-26T18:16:06.183" v="1" actId="478"/>
          <ac:spMkLst>
            <pc:docMk/>
            <pc:sldMk cId="4268687313" sldId="301"/>
            <ac:spMk id="48" creationId="{48CEEA7E-A8C4-4912-8DE3-1F4858BD90AB}"/>
          </ac:spMkLst>
        </pc:spChg>
        <pc:spChg chg="del">
          <ac:chgData name="Travis Nesse" userId="7f5cd6f3-7534-4332-8f38-a3b44d62a5a5" providerId="ADAL" clId="{5453E09B-1CD2-45CF-B668-DFE6F9963229}" dt="2020-06-26T18:16:06.183" v="1" actId="478"/>
          <ac:spMkLst>
            <pc:docMk/>
            <pc:sldMk cId="4268687313" sldId="301"/>
            <ac:spMk id="49" creationId="{CF712B37-E85E-41D3-AD6F-D2D34AF667DE}"/>
          </ac:spMkLst>
        </pc:spChg>
        <pc:spChg chg="del">
          <ac:chgData name="Travis Nesse" userId="7f5cd6f3-7534-4332-8f38-a3b44d62a5a5" providerId="ADAL" clId="{5453E09B-1CD2-45CF-B668-DFE6F9963229}" dt="2020-06-26T18:16:06.183" v="1" actId="478"/>
          <ac:spMkLst>
            <pc:docMk/>
            <pc:sldMk cId="4268687313" sldId="301"/>
            <ac:spMk id="50" creationId="{512E22C6-E2AD-486E-9CD4-C0F060888021}"/>
          </ac:spMkLst>
        </pc:spChg>
        <pc:spChg chg="del">
          <ac:chgData name="Travis Nesse" userId="7f5cd6f3-7534-4332-8f38-a3b44d62a5a5" providerId="ADAL" clId="{5453E09B-1CD2-45CF-B668-DFE6F9963229}" dt="2020-06-26T18:16:06.183" v="1" actId="478"/>
          <ac:spMkLst>
            <pc:docMk/>
            <pc:sldMk cId="4268687313" sldId="301"/>
            <ac:spMk id="51" creationId="{766F5F23-7961-4B02-8E7A-1A1D54B88771}"/>
          </ac:spMkLst>
        </pc:spChg>
        <pc:spChg chg="del">
          <ac:chgData name="Travis Nesse" userId="7f5cd6f3-7534-4332-8f38-a3b44d62a5a5" providerId="ADAL" clId="{5453E09B-1CD2-45CF-B668-DFE6F9963229}" dt="2020-06-26T18:16:06.183" v="1" actId="478"/>
          <ac:spMkLst>
            <pc:docMk/>
            <pc:sldMk cId="4268687313" sldId="301"/>
            <ac:spMk id="52" creationId="{E32A921C-D697-4B9B-9D25-1EAE2B5487E3}"/>
          </ac:spMkLst>
        </pc:spChg>
        <pc:spChg chg="del">
          <ac:chgData name="Travis Nesse" userId="7f5cd6f3-7534-4332-8f38-a3b44d62a5a5" providerId="ADAL" clId="{5453E09B-1CD2-45CF-B668-DFE6F9963229}" dt="2020-06-26T18:16:06.183" v="1" actId="478"/>
          <ac:spMkLst>
            <pc:docMk/>
            <pc:sldMk cId="4268687313" sldId="301"/>
            <ac:spMk id="53" creationId="{A270D7BF-026F-4DC3-9335-F807DB77CF63}"/>
          </ac:spMkLst>
        </pc:spChg>
        <pc:spChg chg="del">
          <ac:chgData name="Travis Nesse" userId="7f5cd6f3-7534-4332-8f38-a3b44d62a5a5" providerId="ADAL" clId="{5453E09B-1CD2-45CF-B668-DFE6F9963229}" dt="2020-06-26T18:16:06.183" v="1" actId="478"/>
          <ac:spMkLst>
            <pc:docMk/>
            <pc:sldMk cId="4268687313" sldId="301"/>
            <ac:spMk id="54" creationId="{2B126C7E-5AB4-47C2-84CE-B07EE9E1478C}"/>
          </ac:spMkLst>
        </pc:spChg>
        <pc:spChg chg="add mod">
          <ac:chgData name="Travis Nesse" userId="7f5cd6f3-7534-4332-8f38-a3b44d62a5a5" providerId="ADAL" clId="{5453E09B-1CD2-45CF-B668-DFE6F9963229}" dt="2020-06-26T18:18:31.021" v="88" actId="207"/>
          <ac:spMkLst>
            <pc:docMk/>
            <pc:sldMk cId="4268687313" sldId="301"/>
            <ac:spMk id="55" creationId="{FF5CCB37-CB5B-47BF-873E-A735A5D4EC14}"/>
          </ac:spMkLst>
        </pc:spChg>
        <pc:spChg chg="add mod">
          <ac:chgData name="Travis Nesse" userId="7f5cd6f3-7534-4332-8f38-a3b44d62a5a5" providerId="ADAL" clId="{5453E09B-1CD2-45CF-B668-DFE6F9963229}" dt="2020-06-26T18:18:47.398" v="94" actId="207"/>
          <ac:spMkLst>
            <pc:docMk/>
            <pc:sldMk cId="4268687313" sldId="301"/>
            <ac:spMk id="57" creationId="{C2A0A421-8784-48FF-9CFC-408E3445EAAA}"/>
          </ac:spMkLst>
        </pc:spChg>
        <pc:spChg chg="add mod">
          <ac:chgData name="Travis Nesse" userId="7f5cd6f3-7534-4332-8f38-a3b44d62a5a5" providerId="ADAL" clId="{5453E09B-1CD2-45CF-B668-DFE6F9963229}" dt="2020-06-26T18:19:04.817" v="101" actId="207"/>
          <ac:spMkLst>
            <pc:docMk/>
            <pc:sldMk cId="4268687313" sldId="301"/>
            <ac:spMk id="64" creationId="{EB76A3EE-AC96-4ADA-83AB-47A31C34FB73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66" creationId="{3877753C-D947-43AB-B654-245681453032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67" creationId="{9440CCD1-391D-42CF-B231-8D1BB73BCF93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68" creationId="{742615A3-9FAF-4F0F-A134-36BED6AFBD12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69" creationId="{57A31843-186F-468F-AB49-0B3D8A258560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70" creationId="{C6AF7D4E-0E61-4BFC-9D03-EB2DC421222F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71" creationId="{B57DF866-57BA-47C1-923A-F8E22F7599C9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72" creationId="{EBFC66DA-76C2-4737-95B9-AD5717B4D35B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73" creationId="{FDE1C2F3-989E-4948-86C2-479567A25091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74" creationId="{47583943-E3EA-44F7-8CEE-EA354353F29B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75" creationId="{375467D7-9758-46F7-B28F-40BD3EBE7AC4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76" creationId="{CB75C626-7C5F-4419-879D-23550D86FEB5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77" creationId="{5974715D-49E3-4DB4-881F-51F1641F7651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78" creationId="{0C1A140D-C276-4676-B698-D3799DFD731B}"/>
          </ac:spMkLst>
        </pc:spChg>
        <pc:spChg chg="add mod">
          <ac:chgData name="Travis Nesse" userId="7f5cd6f3-7534-4332-8f38-a3b44d62a5a5" providerId="ADAL" clId="{5453E09B-1CD2-45CF-B668-DFE6F9963229}" dt="2020-06-26T18:19:42.840" v="112" actId="207"/>
          <ac:spMkLst>
            <pc:docMk/>
            <pc:sldMk cId="4268687313" sldId="301"/>
            <ac:spMk id="82" creationId="{3EDDF442-922D-4B72-AE01-D1DA28B3024F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83" creationId="{B6B04159-7BA7-4361-8F17-F4C9FA010E61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84" creationId="{934544AA-9B6B-420D-871C-904013A74787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89" creationId="{BABF54A5-5F54-4D0C-A9FB-904020F474D0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90" creationId="{BAF67299-9D8E-4A7E-98F1-D15DB357A193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92" creationId="{8C76E270-A5E4-4055-B0B1-277A0B0BFB68}"/>
          </ac:spMkLst>
        </pc:spChg>
        <pc:spChg chg="add mod">
          <ac:chgData name="Travis Nesse" userId="7f5cd6f3-7534-4332-8f38-a3b44d62a5a5" providerId="ADAL" clId="{5453E09B-1CD2-45CF-B668-DFE6F9963229}" dt="2020-06-26T18:17:51.526" v="81" actId="207"/>
          <ac:spMkLst>
            <pc:docMk/>
            <pc:sldMk cId="4268687313" sldId="301"/>
            <ac:spMk id="93" creationId="{3D0BBB44-ED23-4E8C-BA68-EFBF8FBABD88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101" creationId="{AAB5BCAA-03CA-4004-9048-A6673A45F1B3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102" creationId="{FDD4ABEE-8ADF-4309-AD25-A7953A5476E5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103" creationId="{8E6A83E3-C255-4808-A5FE-15BFA653FA8A}"/>
          </ac:spMkLst>
        </pc:spChg>
        <pc:spChg chg="add mod">
          <ac:chgData name="Travis Nesse" userId="7f5cd6f3-7534-4332-8f38-a3b44d62a5a5" providerId="ADAL" clId="{5453E09B-1CD2-45CF-B668-DFE6F9963229}" dt="2020-06-26T18:19:53.275" v="115" actId="1076"/>
          <ac:spMkLst>
            <pc:docMk/>
            <pc:sldMk cId="4268687313" sldId="301"/>
            <ac:spMk id="108" creationId="{9A193F1F-A044-4C1B-AD28-41E0BAE610B3}"/>
          </ac:spMkLst>
        </pc:spChg>
        <pc:spChg chg="add mod">
          <ac:chgData name="Travis Nesse" userId="7f5cd6f3-7534-4332-8f38-a3b44d62a5a5" providerId="ADAL" clId="{5453E09B-1CD2-45CF-B668-DFE6F9963229}" dt="2020-06-26T18:22:50.607" v="155" actId="1076"/>
          <ac:spMkLst>
            <pc:docMk/>
            <pc:sldMk cId="4268687313" sldId="301"/>
            <ac:spMk id="109" creationId="{648252A8-88CA-4D36-BFAC-3087EF7D563D}"/>
          </ac:spMkLst>
        </pc:spChg>
        <pc:spChg chg="add mod ord">
          <ac:chgData name="Travis Nesse" userId="7f5cd6f3-7534-4332-8f38-a3b44d62a5a5" providerId="ADAL" clId="{5453E09B-1CD2-45CF-B668-DFE6F9963229}" dt="2020-06-26T18:21:45.431" v="137" actId="207"/>
          <ac:spMkLst>
            <pc:docMk/>
            <pc:sldMk cId="4268687313" sldId="301"/>
            <ac:spMk id="150" creationId="{122D6776-BC52-4AFB-AA58-662119A64BA3}"/>
          </ac:spMkLst>
        </pc:spChg>
        <pc:spChg chg="add mod ord">
          <ac:chgData name="Travis Nesse" userId="7f5cd6f3-7534-4332-8f38-a3b44d62a5a5" providerId="ADAL" clId="{5453E09B-1CD2-45CF-B668-DFE6F9963229}" dt="2020-06-26T18:21:56.904" v="138" actId="207"/>
          <ac:spMkLst>
            <pc:docMk/>
            <pc:sldMk cId="4268687313" sldId="301"/>
            <ac:spMk id="151" creationId="{9C3DAD16-F432-4BA0-9704-6382A53464BF}"/>
          </ac:spMkLst>
        </pc:spChg>
        <pc:spChg chg="add mod ord">
          <ac:chgData name="Travis Nesse" userId="7f5cd6f3-7534-4332-8f38-a3b44d62a5a5" providerId="ADAL" clId="{5453E09B-1CD2-45CF-B668-DFE6F9963229}" dt="2020-06-26T18:22:44.219" v="154" actId="1038"/>
          <ac:spMkLst>
            <pc:docMk/>
            <pc:sldMk cId="4268687313" sldId="301"/>
            <ac:spMk id="152" creationId="{0FE30B2A-58EE-4732-928B-B71C89A5CDD7}"/>
          </ac:spMkLst>
        </pc:spChg>
        <pc:spChg chg="add mod ord">
          <ac:chgData name="Travis Nesse" userId="7f5cd6f3-7534-4332-8f38-a3b44d62a5a5" providerId="ADAL" clId="{5453E09B-1CD2-45CF-B668-DFE6F9963229}" dt="2020-06-26T18:19:54.811" v="116" actId="1076"/>
          <ac:spMkLst>
            <pc:docMk/>
            <pc:sldMk cId="4268687313" sldId="301"/>
            <ac:spMk id="153" creationId="{6EB3F5A5-57E3-4298-86DA-AE196E568714}"/>
          </ac:spMkLst>
        </pc:spChg>
        <pc:grpChg chg="del">
          <ac:chgData name="Travis Nesse" userId="7f5cd6f3-7534-4332-8f38-a3b44d62a5a5" providerId="ADAL" clId="{5453E09B-1CD2-45CF-B668-DFE6F9963229}" dt="2020-06-26T18:16:06.183" v="1" actId="478"/>
          <ac:grpSpMkLst>
            <pc:docMk/>
            <pc:sldMk cId="4268687313" sldId="301"/>
            <ac:grpSpMk id="2" creationId="{BEDA27A8-0B5C-4BB6-B203-AB081740FF1D}"/>
          </ac:grpSpMkLst>
        </pc:grpChg>
        <pc:grpChg chg="del">
          <ac:chgData name="Travis Nesse" userId="7f5cd6f3-7534-4332-8f38-a3b44d62a5a5" providerId="ADAL" clId="{5453E09B-1CD2-45CF-B668-DFE6F9963229}" dt="2020-06-26T18:16:06.183" v="1" actId="478"/>
          <ac:grpSpMkLst>
            <pc:docMk/>
            <pc:sldMk cId="4268687313" sldId="301"/>
            <ac:grpSpMk id="14" creationId="{DFA9CCF6-F50A-4125-A1FE-30A57B755ACD}"/>
          </ac:grpSpMkLst>
        </pc:grpChg>
        <pc:grpChg chg="del">
          <ac:chgData name="Travis Nesse" userId="7f5cd6f3-7534-4332-8f38-a3b44d62a5a5" providerId="ADAL" clId="{5453E09B-1CD2-45CF-B668-DFE6F9963229}" dt="2020-06-26T18:16:06.183" v="1" actId="478"/>
          <ac:grpSpMkLst>
            <pc:docMk/>
            <pc:sldMk cId="4268687313" sldId="301"/>
            <ac:grpSpMk id="58" creationId="{BB952651-92F3-4FAC-A35C-AAB0FED7554F}"/>
          </ac:grpSpMkLst>
        </pc:grpChg>
        <pc:grpChg chg="add mod">
          <ac:chgData name="Travis Nesse" userId="7f5cd6f3-7534-4332-8f38-a3b44d62a5a5" providerId="ADAL" clId="{5453E09B-1CD2-45CF-B668-DFE6F9963229}" dt="2020-06-26T18:16:24.950" v="5" actId="1076"/>
          <ac:grpSpMkLst>
            <pc:docMk/>
            <pc:sldMk cId="4268687313" sldId="301"/>
            <ac:grpSpMk id="94" creationId="{B26A5AEA-1097-4CCA-9B2C-9729F9ACE7F6}"/>
          </ac:grpSpMkLst>
        </pc:grpChg>
        <pc:grpChg chg="add mod">
          <ac:chgData name="Travis Nesse" userId="7f5cd6f3-7534-4332-8f38-a3b44d62a5a5" providerId="ADAL" clId="{5453E09B-1CD2-45CF-B668-DFE6F9963229}" dt="2020-06-26T18:16:24.950" v="5" actId="1076"/>
          <ac:grpSpMkLst>
            <pc:docMk/>
            <pc:sldMk cId="4268687313" sldId="301"/>
            <ac:grpSpMk id="110" creationId="{5CE790A6-7EED-4956-BCD5-4BB3925A4716}"/>
          </ac:grpSpMkLst>
        </pc:grpChg>
        <pc:grpChg chg="add mod">
          <ac:chgData name="Travis Nesse" userId="7f5cd6f3-7534-4332-8f38-a3b44d62a5a5" providerId="ADAL" clId="{5453E09B-1CD2-45CF-B668-DFE6F9963229}" dt="2020-06-26T18:16:24.950" v="5" actId="1076"/>
          <ac:grpSpMkLst>
            <pc:docMk/>
            <pc:sldMk cId="4268687313" sldId="301"/>
            <ac:grpSpMk id="113" creationId="{6FE917A2-BE5A-45BE-93DE-A09C3B4BB25E}"/>
          </ac:grpSpMkLst>
        </pc:grpChg>
        <pc:grpChg chg="add mod">
          <ac:chgData name="Travis Nesse" userId="7f5cd6f3-7534-4332-8f38-a3b44d62a5a5" providerId="ADAL" clId="{5453E09B-1CD2-45CF-B668-DFE6F9963229}" dt="2020-06-26T18:16:24.950" v="5" actId="1076"/>
          <ac:grpSpMkLst>
            <pc:docMk/>
            <pc:sldMk cId="4268687313" sldId="301"/>
            <ac:grpSpMk id="116" creationId="{D43CAFF9-7F9D-40A9-A711-9F6ACABF65A8}"/>
          </ac:grpSpMkLst>
        </pc:grpChg>
        <pc:grpChg chg="add mod">
          <ac:chgData name="Travis Nesse" userId="7f5cd6f3-7534-4332-8f38-a3b44d62a5a5" providerId="ADAL" clId="{5453E09B-1CD2-45CF-B668-DFE6F9963229}" dt="2020-06-26T18:16:24.950" v="5" actId="1076"/>
          <ac:grpSpMkLst>
            <pc:docMk/>
            <pc:sldMk cId="4268687313" sldId="301"/>
            <ac:grpSpMk id="119" creationId="{B17E8E7C-7A65-4AA4-AA26-E734BBCBCE6C}"/>
          </ac:grpSpMkLst>
        </pc:grpChg>
        <pc:grpChg chg="add mod">
          <ac:chgData name="Travis Nesse" userId="7f5cd6f3-7534-4332-8f38-a3b44d62a5a5" providerId="ADAL" clId="{5453E09B-1CD2-45CF-B668-DFE6F9963229}" dt="2020-06-26T18:16:24.950" v="5" actId="1076"/>
          <ac:grpSpMkLst>
            <pc:docMk/>
            <pc:sldMk cId="4268687313" sldId="301"/>
            <ac:grpSpMk id="122" creationId="{3CAB3698-C112-4723-9240-3292FB57ACD9}"/>
          </ac:grpSpMkLst>
        </pc:grpChg>
        <pc:grpChg chg="add mod">
          <ac:chgData name="Travis Nesse" userId="7f5cd6f3-7534-4332-8f38-a3b44d62a5a5" providerId="ADAL" clId="{5453E09B-1CD2-45CF-B668-DFE6F9963229}" dt="2020-06-26T18:16:24.950" v="5" actId="1076"/>
          <ac:grpSpMkLst>
            <pc:docMk/>
            <pc:sldMk cId="4268687313" sldId="301"/>
            <ac:grpSpMk id="126" creationId="{6D05DAD3-FC97-4F98-9AA5-0D346E91B3D2}"/>
          </ac:grpSpMkLst>
        </pc:grpChg>
        <pc:grpChg chg="add mod">
          <ac:chgData name="Travis Nesse" userId="7f5cd6f3-7534-4332-8f38-a3b44d62a5a5" providerId="ADAL" clId="{5453E09B-1CD2-45CF-B668-DFE6F9963229}" dt="2020-06-26T18:16:24.950" v="5" actId="1076"/>
          <ac:grpSpMkLst>
            <pc:docMk/>
            <pc:sldMk cId="4268687313" sldId="301"/>
            <ac:grpSpMk id="129" creationId="{433A83F3-82DF-4574-B070-34EF62C954D7}"/>
          </ac:grpSpMkLst>
        </pc:grpChg>
        <pc:grpChg chg="add mod">
          <ac:chgData name="Travis Nesse" userId="7f5cd6f3-7534-4332-8f38-a3b44d62a5a5" providerId="ADAL" clId="{5453E09B-1CD2-45CF-B668-DFE6F9963229}" dt="2020-06-26T18:16:24.950" v="5" actId="1076"/>
          <ac:grpSpMkLst>
            <pc:docMk/>
            <pc:sldMk cId="4268687313" sldId="301"/>
            <ac:grpSpMk id="132" creationId="{5DE79275-E08C-4173-80CF-22A0229844BC}"/>
          </ac:grpSpMkLst>
        </pc:grpChg>
        <pc:grpChg chg="add mod">
          <ac:chgData name="Travis Nesse" userId="7f5cd6f3-7534-4332-8f38-a3b44d62a5a5" providerId="ADAL" clId="{5453E09B-1CD2-45CF-B668-DFE6F9963229}" dt="2020-06-26T18:16:24.950" v="5" actId="1076"/>
          <ac:grpSpMkLst>
            <pc:docMk/>
            <pc:sldMk cId="4268687313" sldId="301"/>
            <ac:grpSpMk id="135" creationId="{63F8E982-971A-4F20-92C0-0B4997A517C8}"/>
          </ac:grpSpMkLst>
        </pc:grpChg>
        <pc:grpChg chg="add mod">
          <ac:chgData name="Travis Nesse" userId="7f5cd6f3-7534-4332-8f38-a3b44d62a5a5" providerId="ADAL" clId="{5453E09B-1CD2-45CF-B668-DFE6F9963229}" dt="2020-06-26T18:16:24.950" v="5" actId="1076"/>
          <ac:grpSpMkLst>
            <pc:docMk/>
            <pc:sldMk cId="4268687313" sldId="301"/>
            <ac:grpSpMk id="138" creationId="{AE9C8006-CCA8-4832-AE80-205A529CFD63}"/>
          </ac:grpSpMkLst>
        </pc:grpChg>
        <pc:grpChg chg="add mod">
          <ac:chgData name="Travis Nesse" userId="7f5cd6f3-7534-4332-8f38-a3b44d62a5a5" providerId="ADAL" clId="{5453E09B-1CD2-45CF-B668-DFE6F9963229}" dt="2020-06-26T18:16:24.950" v="5" actId="1076"/>
          <ac:grpSpMkLst>
            <pc:docMk/>
            <pc:sldMk cId="4268687313" sldId="301"/>
            <ac:grpSpMk id="141" creationId="{11106CD2-F943-425D-874D-C59AE0EF0274}"/>
          </ac:grpSpMkLst>
        </pc:grpChg>
        <pc:grpChg chg="add mod">
          <ac:chgData name="Travis Nesse" userId="7f5cd6f3-7534-4332-8f38-a3b44d62a5a5" providerId="ADAL" clId="{5453E09B-1CD2-45CF-B668-DFE6F9963229}" dt="2020-06-26T18:16:24.950" v="5" actId="1076"/>
          <ac:grpSpMkLst>
            <pc:docMk/>
            <pc:sldMk cId="4268687313" sldId="301"/>
            <ac:grpSpMk id="144" creationId="{B550E2C5-4F36-4597-B871-B46FEF2B03D1}"/>
          </ac:grpSpMkLst>
        </pc:grpChg>
        <pc:grpChg chg="add mod">
          <ac:chgData name="Travis Nesse" userId="7f5cd6f3-7534-4332-8f38-a3b44d62a5a5" providerId="ADAL" clId="{5453E09B-1CD2-45CF-B668-DFE6F9963229}" dt="2020-06-26T18:16:24.950" v="5" actId="1076"/>
          <ac:grpSpMkLst>
            <pc:docMk/>
            <pc:sldMk cId="4268687313" sldId="301"/>
            <ac:grpSpMk id="147" creationId="{1161B777-7BC3-4CA7-BD76-73B254974C89}"/>
          </ac:grpSpMkLst>
        </pc:grpChg>
        <pc:picChg chg="del">
          <ac:chgData name="Travis Nesse" userId="7f5cd6f3-7534-4332-8f38-a3b44d62a5a5" providerId="ADAL" clId="{5453E09B-1CD2-45CF-B668-DFE6F9963229}" dt="2020-06-26T18:16:06.183" v="1" actId="478"/>
          <ac:picMkLst>
            <pc:docMk/>
            <pc:sldMk cId="4268687313" sldId="301"/>
            <ac:picMk id="41" creationId="{E73F814C-424E-4E71-B26A-9D1D9046DD0B}"/>
          </ac:picMkLst>
        </pc:picChg>
        <pc:picChg chg="del">
          <ac:chgData name="Travis Nesse" userId="7f5cd6f3-7534-4332-8f38-a3b44d62a5a5" providerId="ADAL" clId="{5453E09B-1CD2-45CF-B668-DFE6F9963229}" dt="2020-06-26T18:16:06.183" v="1" actId="478"/>
          <ac:picMkLst>
            <pc:docMk/>
            <pc:sldMk cId="4268687313" sldId="301"/>
            <ac:picMk id="42" creationId="{675F0D2D-3BE5-46E6-9112-93BCE651E869}"/>
          </ac:picMkLst>
        </pc:picChg>
        <pc:picChg chg="del">
          <ac:chgData name="Travis Nesse" userId="7f5cd6f3-7534-4332-8f38-a3b44d62a5a5" providerId="ADAL" clId="{5453E09B-1CD2-45CF-B668-DFE6F9963229}" dt="2020-06-26T18:16:06.183" v="1" actId="478"/>
          <ac:picMkLst>
            <pc:docMk/>
            <pc:sldMk cId="4268687313" sldId="301"/>
            <ac:picMk id="56" creationId="{99E129A8-30BA-4807-A549-78874BA1B9AC}"/>
          </ac:picMkLst>
        </pc:picChg>
        <pc:picChg chg="mod">
          <ac:chgData name="Travis Nesse" userId="7f5cd6f3-7534-4332-8f38-a3b44d62a5a5" providerId="ADAL" clId="{5453E09B-1CD2-45CF-B668-DFE6F9963229}" dt="2020-06-26T18:17:39.287" v="79" actId="207"/>
          <ac:picMkLst>
            <pc:docMk/>
            <pc:sldMk cId="4268687313" sldId="301"/>
            <ac:picMk id="131" creationId="{B32583BE-E2B3-474E-B964-4145DF339F91}"/>
          </ac:picMkLst>
        </pc:picChg>
        <pc:cxnChg chg="add mod">
          <ac:chgData name="Travis Nesse" userId="7f5cd6f3-7534-4332-8f38-a3b44d62a5a5" providerId="ADAL" clId="{5453E09B-1CD2-45CF-B668-DFE6F9963229}" dt="2020-06-26T18:16:24.950" v="5" actId="1076"/>
          <ac:cxnSpMkLst>
            <pc:docMk/>
            <pc:sldMk cId="4268687313" sldId="301"/>
            <ac:cxnSpMk id="65" creationId="{D7A0994E-F5CE-4284-A85A-FC2796A382AF}"/>
          </ac:cxnSpMkLst>
        </pc:cxnChg>
        <pc:cxnChg chg="add mod">
          <ac:chgData name="Travis Nesse" userId="7f5cd6f3-7534-4332-8f38-a3b44d62a5a5" providerId="ADAL" clId="{5453E09B-1CD2-45CF-B668-DFE6F9963229}" dt="2020-06-26T18:16:24.950" v="5" actId="1076"/>
          <ac:cxnSpMkLst>
            <pc:docMk/>
            <pc:sldMk cId="4268687313" sldId="301"/>
            <ac:cxnSpMk id="79" creationId="{613ED603-A273-4302-85B2-296AA451700E}"/>
          </ac:cxnSpMkLst>
        </pc:cxnChg>
        <pc:cxnChg chg="add mod">
          <ac:chgData name="Travis Nesse" userId="7f5cd6f3-7534-4332-8f38-a3b44d62a5a5" providerId="ADAL" clId="{5453E09B-1CD2-45CF-B668-DFE6F9963229}" dt="2020-06-26T18:16:24.950" v="5" actId="1076"/>
          <ac:cxnSpMkLst>
            <pc:docMk/>
            <pc:sldMk cId="4268687313" sldId="301"/>
            <ac:cxnSpMk id="80" creationId="{877535BC-ED7E-4188-9A17-9A738DDC1EFB}"/>
          </ac:cxnSpMkLst>
        </pc:cxnChg>
        <pc:cxnChg chg="add mod">
          <ac:chgData name="Travis Nesse" userId="7f5cd6f3-7534-4332-8f38-a3b44d62a5a5" providerId="ADAL" clId="{5453E09B-1CD2-45CF-B668-DFE6F9963229}" dt="2020-06-26T18:16:24.950" v="5" actId="1076"/>
          <ac:cxnSpMkLst>
            <pc:docMk/>
            <pc:sldMk cId="4268687313" sldId="301"/>
            <ac:cxnSpMk id="81" creationId="{9C8FC23C-EAB1-48BB-BE31-15D96A9882EC}"/>
          </ac:cxnSpMkLst>
        </pc:cxnChg>
        <pc:cxnChg chg="add mod">
          <ac:chgData name="Travis Nesse" userId="7f5cd6f3-7534-4332-8f38-a3b44d62a5a5" providerId="ADAL" clId="{5453E09B-1CD2-45CF-B668-DFE6F9963229}" dt="2020-06-26T18:16:24.950" v="5" actId="1076"/>
          <ac:cxnSpMkLst>
            <pc:docMk/>
            <pc:sldMk cId="4268687313" sldId="301"/>
            <ac:cxnSpMk id="85" creationId="{8A18F480-6146-4F08-ABB9-20B05692D288}"/>
          </ac:cxnSpMkLst>
        </pc:cxnChg>
        <pc:cxnChg chg="add mod">
          <ac:chgData name="Travis Nesse" userId="7f5cd6f3-7534-4332-8f38-a3b44d62a5a5" providerId="ADAL" clId="{5453E09B-1CD2-45CF-B668-DFE6F9963229}" dt="2020-06-26T18:16:24.950" v="5" actId="1076"/>
          <ac:cxnSpMkLst>
            <pc:docMk/>
            <pc:sldMk cId="4268687313" sldId="301"/>
            <ac:cxnSpMk id="86" creationId="{DFD2459C-F374-4A7F-821F-9CA319BD7BFB}"/>
          </ac:cxnSpMkLst>
        </pc:cxnChg>
        <pc:cxnChg chg="add mod">
          <ac:chgData name="Travis Nesse" userId="7f5cd6f3-7534-4332-8f38-a3b44d62a5a5" providerId="ADAL" clId="{5453E09B-1CD2-45CF-B668-DFE6F9963229}" dt="2020-06-26T18:16:24.950" v="5" actId="1076"/>
          <ac:cxnSpMkLst>
            <pc:docMk/>
            <pc:sldMk cId="4268687313" sldId="301"/>
            <ac:cxnSpMk id="87" creationId="{270ABC7E-2150-4C1D-906C-95AB5F70BB96}"/>
          </ac:cxnSpMkLst>
        </pc:cxnChg>
        <pc:cxnChg chg="add mod">
          <ac:chgData name="Travis Nesse" userId="7f5cd6f3-7534-4332-8f38-a3b44d62a5a5" providerId="ADAL" clId="{5453E09B-1CD2-45CF-B668-DFE6F9963229}" dt="2020-06-26T18:16:24.950" v="5" actId="1076"/>
          <ac:cxnSpMkLst>
            <pc:docMk/>
            <pc:sldMk cId="4268687313" sldId="301"/>
            <ac:cxnSpMk id="88" creationId="{3F523A1E-880D-46AC-BB65-C4546DEE58EE}"/>
          </ac:cxnSpMkLst>
        </pc:cxnChg>
        <pc:cxnChg chg="add mod">
          <ac:chgData name="Travis Nesse" userId="7f5cd6f3-7534-4332-8f38-a3b44d62a5a5" providerId="ADAL" clId="{5453E09B-1CD2-45CF-B668-DFE6F9963229}" dt="2020-06-26T18:16:24.950" v="5" actId="1076"/>
          <ac:cxnSpMkLst>
            <pc:docMk/>
            <pc:sldMk cId="4268687313" sldId="301"/>
            <ac:cxnSpMk id="91" creationId="{6C612ABC-6D3D-4E6D-A372-F6DEBBA7338F}"/>
          </ac:cxnSpMkLst>
        </pc:cxnChg>
        <pc:cxnChg chg="add mod">
          <ac:chgData name="Travis Nesse" userId="7f5cd6f3-7534-4332-8f38-a3b44d62a5a5" providerId="ADAL" clId="{5453E09B-1CD2-45CF-B668-DFE6F9963229}" dt="2020-06-26T18:16:24.950" v="5" actId="1076"/>
          <ac:cxnSpMkLst>
            <pc:docMk/>
            <pc:sldMk cId="4268687313" sldId="301"/>
            <ac:cxnSpMk id="104" creationId="{7B7F34D8-EEE6-4529-A285-4C338660133B}"/>
          </ac:cxnSpMkLst>
        </pc:cxnChg>
        <pc:cxnChg chg="add mod">
          <ac:chgData name="Travis Nesse" userId="7f5cd6f3-7534-4332-8f38-a3b44d62a5a5" providerId="ADAL" clId="{5453E09B-1CD2-45CF-B668-DFE6F9963229}" dt="2020-06-26T18:16:24.950" v="5" actId="1076"/>
          <ac:cxnSpMkLst>
            <pc:docMk/>
            <pc:sldMk cId="4268687313" sldId="301"/>
            <ac:cxnSpMk id="105" creationId="{9C474457-9E98-438F-925B-0460CC352610}"/>
          </ac:cxnSpMkLst>
        </pc:cxnChg>
        <pc:cxnChg chg="add mod">
          <ac:chgData name="Travis Nesse" userId="7f5cd6f3-7534-4332-8f38-a3b44d62a5a5" providerId="ADAL" clId="{5453E09B-1CD2-45CF-B668-DFE6F9963229}" dt="2020-06-26T18:16:24.950" v="5" actId="1076"/>
          <ac:cxnSpMkLst>
            <pc:docMk/>
            <pc:sldMk cId="4268687313" sldId="301"/>
            <ac:cxnSpMk id="106" creationId="{3F614C8B-DDCE-4151-8F1E-C7B275615279}"/>
          </ac:cxnSpMkLst>
        </pc:cxnChg>
        <pc:cxnChg chg="add mod">
          <ac:chgData name="Travis Nesse" userId="7f5cd6f3-7534-4332-8f38-a3b44d62a5a5" providerId="ADAL" clId="{5453E09B-1CD2-45CF-B668-DFE6F9963229}" dt="2020-06-26T18:16:24.950" v="5" actId="1076"/>
          <ac:cxnSpMkLst>
            <pc:docMk/>
            <pc:sldMk cId="4268687313" sldId="301"/>
            <ac:cxnSpMk id="107" creationId="{DA9EC1D1-41F0-4F9E-815A-10D39F770E4E}"/>
          </ac:cxnSpMkLst>
        </pc:cxnChg>
      </pc:sldChg>
      <pc:sldChg chg="addSp delSp modSp add mod ord modTransition modShow">
        <pc:chgData name="Travis Nesse" userId="7f5cd6f3-7534-4332-8f38-a3b44d62a5a5" providerId="ADAL" clId="{5453E09B-1CD2-45CF-B668-DFE6F9963229}" dt="2020-06-26T18:34:47.383" v="536"/>
        <pc:sldMkLst>
          <pc:docMk/>
          <pc:sldMk cId="1562976763" sldId="302"/>
        </pc:sldMkLst>
        <pc:spChg chg="add del mod">
          <ac:chgData name="Travis Nesse" userId="7f5cd6f3-7534-4332-8f38-a3b44d62a5a5" providerId="ADAL" clId="{5453E09B-1CD2-45CF-B668-DFE6F9963229}" dt="2020-06-26T18:26:34.382" v="199" actId="478"/>
          <ac:spMkLst>
            <pc:docMk/>
            <pc:sldMk cId="1562976763" sldId="302"/>
            <ac:spMk id="2" creationId="{F62EB48D-154E-48D5-98DE-AD20BD0A436A}"/>
          </ac:spMkLst>
        </pc:spChg>
        <pc:spChg chg="mod">
          <ac:chgData name="Travis Nesse" userId="7f5cd6f3-7534-4332-8f38-a3b44d62a5a5" providerId="ADAL" clId="{5453E09B-1CD2-45CF-B668-DFE6F9963229}" dt="2020-06-26T18:24:51.001" v="184" actId="14100"/>
          <ac:spMkLst>
            <pc:docMk/>
            <pc:sldMk cId="1562976763" sldId="302"/>
            <ac:spMk id="5" creationId="{92EFB6BD-A7D8-473E-8CD3-E8D8B5EE782F}"/>
          </ac:spMkLst>
        </pc:spChg>
        <pc:spChg chg="del mod">
          <ac:chgData name="Travis Nesse" userId="7f5cd6f3-7534-4332-8f38-a3b44d62a5a5" providerId="ADAL" clId="{5453E09B-1CD2-45CF-B668-DFE6F9963229}" dt="2020-06-26T18:24:17.033" v="179" actId="478"/>
          <ac:spMkLst>
            <pc:docMk/>
            <pc:sldMk cId="1562976763" sldId="302"/>
            <ac:spMk id="7" creationId="{381C5FF9-7E97-4FAC-8DC0-DF1B5B7F7F47}"/>
          </ac:spMkLst>
        </pc:spChg>
        <pc:spChg chg="del">
          <ac:chgData name="Travis Nesse" userId="7f5cd6f3-7534-4332-8f38-a3b44d62a5a5" providerId="ADAL" clId="{5453E09B-1CD2-45CF-B668-DFE6F9963229}" dt="2020-06-26T18:23:33.607" v="167" actId="478"/>
          <ac:spMkLst>
            <pc:docMk/>
            <pc:sldMk cId="1562976763" sldId="302"/>
            <ac:spMk id="8" creationId="{A0BFB5B8-D1B0-4010-A135-75468AD56EAE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55" creationId="{FF5CCB37-CB5B-47BF-873E-A735A5D4EC14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57" creationId="{C2A0A421-8784-48FF-9CFC-408E3445EAAA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64" creationId="{EB76A3EE-AC96-4ADA-83AB-47A31C34FB73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66" creationId="{3877753C-D947-43AB-B654-245681453032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67" creationId="{9440CCD1-391D-42CF-B231-8D1BB73BCF93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68" creationId="{742615A3-9FAF-4F0F-A134-36BED6AFBD12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69" creationId="{57A31843-186F-468F-AB49-0B3D8A258560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70" creationId="{C6AF7D4E-0E61-4BFC-9D03-EB2DC421222F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71" creationId="{B57DF866-57BA-47C1-923A-F8E22F7599C9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72" creationId="{EBFC66DA-76C2-4737-95B9-AD5717B4D35B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73" creationId="{FDE1C2F3-989E-4948-86C2-479567A25091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74" creationId="{47583943-E3EA-44F7-8CEE-EA354353F29B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75" creationId="{375467D7-9758-46F7-B28F-40BD3EBE7AC4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76" creationId="{CB75C626-7C5F-4419-879D-23550D86FEB5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77" creationId="{5974715D-49E3-4DB4-881F-51F1641F7651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78" creationId="{0C1A140D-C276-4676-B698-D3799DFD731B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82" creationId="{3EDDF442-922D-4B72-AE01-D1DA28B3024F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83" creationId="{B6B04159-7BA7-4361-8F17-F4C9FA010E61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84" creationId="{934544AA-9B6B-420D-871C-904013A74787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89" creationId="{BABF54A5-5F54-4D0C-A9FB-904020F474D0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90" creationId="{BAF67299-9D8E-4A7E-98F1-D15DB357A193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92" creationId="{8C76E270-A5E4-4055-B0B1-277A0B0BFB68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93" creationId="{3D0BBB44-ED23-4E8C-BA68-EFBF8FBABD88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101" creationId="{AAB5BCAA-03CA-4004-9048-A6673A45F1B3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102" creationId="{FDD4ABEE-8ADF-4309-AD25-A7953A5476E5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103" creationId="{8E6A83E3-C255-4808-A5FE-15BFA653FA8A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108" creationId="{9A193F1F-A044-4C1B-AD28-41E0BAE610B3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109" creationId="{648252A8-88CA-4D36-BFAC-3087EF7D563D}"/>
          </ac:spMkLst>
        </pc:spChg>
        <pc:spChg chg="del">
          <ac:chgData name="Travis Nesse" userId="7f5cd6f3-7534-4332-8f38-a3b44d62a5a5" providerId="ADAL" clId="{5453E09B-1CD2-45CF-B668-DFE6F9963229}" dt="2020-06-26T18:23:32.855" v="166" actId="478"/>
          <ac:spMkLst>
            <pc:docMk/>
            <pc:sldMk cId="1562976763" sldId="302"/>
            <ac:spMk id="150" creationId="{122D6776-BC52-4AFB-AA58-662119A64BA3}"/>
          </ac:spMkLst>
        </pc:spChg>
        <pc:spChg chg="del">
          <ac:chgData name="Travis Nesse" userId="7f5cd6f3-7534-4332-8f38-a3b44d62a5a5" providerId="ADAL" clId="{5453E09B-1CD2-45CF-B668-DFE6F9963229}" dt="2020-06-26T18:23:32.176" v="165" actId="478"/>
          <ac:spMkLst>
            <pc:docMk/>
            <pc:sldMk cId="1562976763" sldId="302"/>
            <ac:spMk id="151" creationId="{9C3DAD16-F432-4BA0-9704-6382A53464BF}"/>
          </ac:spMkLst>
        </pc:spChg>
        <pc:spChg chg="del">
          <ac:chgData name="Travis Nesse" userId="7f5cd6f3-7534-4332-8f38-a3b44d62a5a5" providerId="ADAL" clId="{5453E09B-1CD2-45CF-B668-DFE6F9963229}" dt="2020-06-26T18:23:11.892" v="158" actId="478"/>
          <ac:spMkLst>
            <pc:docMk/>
            <pc:sldMk cId="1562976763" sldId="302"/>
            <ac:spMk id="152" creationId="{0FE30B2A-58EE-4732-928B-B71C89A5CDD7}"/>
          </ac:spMkLst>
        </pc:spChg>
        <pc:spChg chg="del">
          <ac:chgData name="Travis Nesse" userId="7f5cd6f3-7534-4332-8f38-a3b44d62a5a5" providerId="ADAL" clId="{5453E09B-1CD2-45CF-B668-DFE6F9963229}" dt="2020-06-26T18:23:19.165" v="160" actId="478"/>
          <ac:spMkLst>
            <pc:docMk/>
            <pc:sldMk cId="1562976763" sldId="302"/>
            <ac:spMk id="153" creationId="{6EB3F5A5-57E3-4298-86DA-AE196E568714}"/>
          </ac:spMkLst>
        </pc:spChg>
        <pc:grpChg chg="mod">
          <ac:chgData name="Travis Nesse" userId="7f5cd6f3-7534-4332-8f38-a3b44d62a5a5" providerId="ADAL" clId="{5453E09B-1CD2-45CF-B668-DFE6F9963229}" dt="2020-06-26T18:25:01.235" v="185" actId="1076"/>
          <ac:grpSpMkLst>
            <pc:docMk/>
            <pc:sldMk cId="1562976763" sldId="302"/>
            <ac:grpSpMk id="94" creationId="{B26A5AEA-1097-4CCA-9B2C-9729F9ACE7F6}"/>
          </ac:grpSpMkLst>
        </pc:grpChg>
        <pc:grpChg chg="mod">
          <ac:chgData name="Travis Nesse" userId="7f5cd6f3-7534-4332-8f38-a3b44d62a5a5" providerId="ADAL" clId="{5453E09B-1CD2-45CF-B668-DFE6F9963229}" dt="2020-06-26T18:25:01.235" v="185" actId="1076"/>
          <ac:grpSpMkLst>
            <pc:docMk/>
            <pc:sldMk cId="1562976763" sldId="302"/>
            <ac:grpSpMk id="110" creationId="{5CE790A6-7EED-4956-BCD5-4BB3925A4716}"/>
          </ac:grpSpMkLst>
        </pc:grpChg>
        <pc:grpChg chg="mod">
          <ac:chgData name="Travis Nesse" userId="7f5cd6f3-7534-4332-8f38-a3b44d62a5a5" providerId="ADAL" clId="{5453E09B-1CD2-45CF-B668-DFE6F9963229}" dt="2020-06-26T18:25:01.235" v="185" actId="1076"/>
          <ac:grpSpMkLst>
            <pc:docMk/>
            <pc:sldMk cId="1562976763" sldId="302"/>
            <ac:grpSpMk id="113" creationId="{6FE917A2-BE5A-45BE-93DE-A09C3B4BB25E}"/>
          </ac:grpSpMkLst>
        </pc:grpChg>
        <pc:grpChg chg="mod">
          <ac:chgData name="Travis Nesse" userId="7f5cd6f3-7534-4332-8f38-a3b44d62a5a5" providerId="ADAL" clId="{5453E09B-1CD2-45CF-B668-DFE6F9963229}" dt="2020-06-26T18:25:01.235" v="185" actId="1076"/>
          <ac:grpSpMkLst>
            <pc:docMk/>
            <pc:sldMk cId="1562976763" sldId="302"/>
            <ac:grpSpMk id="116" creationId="{D43CAFF9-7F9D-40A9-A711-9F6ACABF65A8}"/>
          </ac:grpSpMkLst>
        </pc:grpChg>
        <pc:grpChg chg="mod">
          <ac:chgData name="Travis Nesse" userId="7f5cd6f3-7534-4332-8f38-a3b44d62a5a5" providerId="ADAL" clId="{5453E09B-1CD2-45CF-B668-DFE6F9963229}" dt="2020-06-26T18:25:01.235" v="185" actId="1076"/>
          <ac:grpSpMkLst>
            <pc:docMk/>
            <pc:sldMk cId="1562976763" sldId="302"/>
            <ac:grpSpMk id="119" creationId="{B17E8E7C-7A65-4AA4-AA26-E734BBCBCE6C}"/>
          </ac:grpSpMkLst>
        </pc:grpChg>
        <pc:grpChg chg="mod">
          <ac:chgData name="Travis Nesse" userId="7f5cd6f3-7534-4332-8f38-a3b44d62a5a5" providerId="ADAL" clId="{5453E09B-1CD2-45CF-B668-DFE6F9963229}" dt="2020-06-26T18:25:01.235" v="185" actId="1076"/>
          <ac:grpSpMkLst>
            <pc:docMk/>
            <pc:sldMk cId="1562976763" sldId="302"/>
            <ac:grpSpMk id="122" creationId="{3CAB3698-C112-4723-9240-3292FB57ACD9}"/>
          </ac:grpSpMkLst>
        </pc:grpChg>
        <pc:grpChg chg="mod">
          <ac:chgData name="Travis Nesse" userId="7f5cd6f3-7534-4332-8f38-a3b44d62a5a5" providerId="ADAL" clId="{5453E09B-1CD2-45CF-B668-DFE6F9963229}" dt="2020-06-26T18:25:01.235" v="185" actId="1076"/>
          <ac:grpSpMkLst>
            <pc:docMk/>
            <pc:sldMk cId="1562976763" sldId="302"/>
            <ac:grpSpMk id="126" creationId="{6D05DAD3-FC97-4F98-9AA5-0D346E91B3D2}"/>
          </ac:grpSpMkLst>
        </pc:grpChg>
        <pc:grpChg chg="mod">
          <ac:chgData name="Travis Nesse" userId="7f5cd6f3-7534-4332-8f38-a3b44d62a5a5" providerId="ADAL" clId="{5453E09B-1CD2-45CF-B668-DFE6F9963229}" dt="2020-06-26T18:25:01.235" v="185" actId="1076"/>
          <ac:grpSpMkLst>
            <pc:docMk/>
            <pc:sldMk cId="1562976763" sldId="302"/>
            <ac:grpSpMk id="129" creationId="{433A83F3-82DF-4574-B070-34EF62C954D7}"/>
          </ac:grpSpMkLst>
        </pc:grpChg>
        <pc:grpChg chg="mod">
          <ac:chgData name="Travis Nesse" userId="7f5cd6f3-7534-4332-8f38-a3b44d62a5a5" providerId="ADAL" clId="{5453E09B-1CD2-45CF-B668-DFE6F9963229}" dt="2020-06-26T18:25:01.235" v="185" actId="1076"/>
          <ac:grpSpMkLst>
            <pc:docMk/>
            <pc:sldMk cId="1562976763" sldId="302"/>
            <ac:grpSpMk id="132" creationId="{5DE79275-E08C-4173-80CF-22A0229844BC}"/>
          </ac:grpSpMkLst>
        </pc:grpChg>
        <pc:grpChg chg="mod">
          <ac:chgData name="Travis Nesse" userId="7f5cd6f3-7534-4332-8f38-a3b44d62a5a5" providerId="ADAL" clId="{5453E09B-1CD2-45CF-B668-DFE6F9963229}" dt="2020-06-26T18:25:01.235" v="185" actId="1076"/>
          <ac:grpSpMkLst>
            <pc:docMk/>
            <pc:sldMk cId="1562976763" sldId="302"/>
            <ac:grpSpMk id="135" creationId="{63F8E982-971A-4F20-92C0-0B4997A517C8}"/>
          </ac:grpSpMkLst>
        </pc:grpChg>
        <pc:grpChg chg="mod">
          <ac:chgData name="Travis Nesse" userId="7f5cd6f3-7534-4332-8f38-a3b44d62a5a5" providerId="ADAL" clId="{5453E09B-1CD2-45CF-B668-DFE6F9963229}" dt="2020-06-26T18:25:01.235" v="185" actId="1076"/>
          <ac:grpSpMkLst>
            <pc:docMk/>
            <pc:sldMk cId="1562976763" sldId="302"/>
            <ac:grpSpMk id="138" creationId="{AE9C8006-CCA8-4832-AE80-205A529CFD63}"/>
          </ac:grpSpMkLst>
        </pc:grpChg>
        <pc:grpChg chg="mod">
          <ac:chgData name="Travis Nesse" userId="7f5cd6f3-7534-4332-8f38-a3b44d62a5a5" providerId="ADAL" clId="{5453E09B-1CD2-45CF-B668-DFE6F9963229}" dt="2020-06-26T18:25:01.235" v="185" actId="1076"/>
          <ac:grpSpMkLst>
            <pc:docMk/>
            <pc:sldMk cId="1562976763" sldId="302"/>
            <ac:grpSpMk id="141" creationId="{11106CD2-F943-425D-874D-C59AE0EF0274}"/>
          </ac:grpSpMkLst>
        </pc:grpChg>
        <pc:grpChg chg="mod">
          <ac:chgData name="Travis Nesse" userId="7f5cd6f3-7534-4332-8f38-a3b44d62a5a5" providerId="ADAL" clId="{5453E09B-1CD2-45CF-B668-DFE6F9963229}" dt="2020-06-26T18:25:01.235" v="185" actId="1076"/>
          <ac:grpSpMkLst>
            <pc:docMk/>
            <pc:sldMk cId="1562976763" sldId="302"/>
            <ac:grpSpMk id="144" creationId="{B550E2C5-4F36-4597-B871-B46FEF2B03D1}"/>
          </ac:grpSpMkLst>
        </pc:grpChg>
        <pc:grpChg chg="mod">
          <ac:chgData name="Travis Nesse" userId="7f5cd6f3-7534-4332-8f38-a3b44d62a5a5" providerId="ADAL" clId="{5453E09B-1CD2-45CF-B668-DFE6F9963229}" dt="2020-06-26T18:25:01.235" v="185" actId="1076"/>
          <ac:grpSpMkLst>
            <pc:docMk/>
            <pc:sldMk cId="1562976763" sldId="302"/>
            <ac:grpSpMk id="147" creationId="{1161B777-7BC3-4CA7-BD76-73B254974C89}"/>
          </ac:grpSpMkLst>
        </pc:grpChg>
        <pc:picChg chg="add mod">
          <ac:chgData name="Travis Nesse" userId="7f5cd6f3-7534-4332-8f38-a3b44d62a5a5" providerId="ADAL" clId="{5453E09B-1CD2-45CF-B668-DFE6F9963229}" dt="2020-06-26T18:26:33.328" v="198" actId="1076"/>
          <ac:picMkLst>
            <pc:docMk/>
            <pc:sldMk cId="1562976763" sldId="302"/>
            <ac:picMk id="154" creationId="{7317877B-C1CF-440B-AB82-E37457B57982}"/>
          </ac:picMkLst>
        </pc:picChg>
        <pc:cxnChg chg="mod">
          <ac:chgData name="Travis Nesse" userId="7f5cd6f3-7534-4332-8f38-a3b44d62a5a5" providerId="ADAL" clId="{5453E09B-1CD2-45CF-B668-DFE6F9963229}" dt="2020-06-26T18:25:01.235" v="185" actId="1076"/>
          <ac:cxnSpMkLst>
            <pc:docMk/>
            <pc:sldMk cId="1562976763" sldId="302"/>
            <ac:cxnSpMk id="65" creationId="{D7A0994E-F5CE-4284-A85A-FC2796A382AF}"/>
          </ac:cxnSpMkLst>
        </pc:cxnChg>
        <pc:cxnChg chg="mod">
          <ac:chgData name="Travis Nesse" userId="7f5cd6f3-7534-4332-8f38-a3b44d62a5a5" providerId="ADAL" clId="{5453E09B-1CD2-45CF-B668-DFE6F9963229}" dt="2020-06-26T18:25:01.235" v="185" actId="1076"/>
          <ac:cxnSpMkLst>
            <pc:docMk/>
            <pc:sldMk cId="1562976763" sldId="302"/>
            <ac:cxnSpMk id="79" creationId="{613ED603-A273-4302-85B2-296AA451700E}"/>
          </ac:cxnSpMkLst>
        </pc:cxnChg>
        <pc:cxnChg chg="mod">
          <ac:chgData name="Travis Nesse" userId="7f5cd6f3-7534-4332-8f38-a3b44d62a5a5" providerId="ADAL" clId="{5453E09B-1CD2-45CF-B668-DFE6F9963229}" dt="2020-06-26T18:25:01.235" v="185" actId="1076"/>
          <ac:cxnSpMkLst>
            <pc:docMk/>
            <pc:sldMk cId="1562976763" sldId="302"/>
            <ac:cxnSpMk id="80" creationId="{877535BC-ED7E-4188-9A17-9A738DDC1EFB}"/>
          </ac:cxnSpMkLst>
        </pc:cxnChg>
        <pc:cxnChg chg="mod">
          <ac:chgData name="Travis Nesse" userId="7f5cd6f3-7534-4332-8f38-a3b44d62a5a5" providerId="ADAL" clId="{5453E09B-1CD2-45CF-B668-DFE6F9963229}" dt="2020-06-26T18:25:01.235" v="185" actId="1076"/>
          <ac:cxnSpMkLst>
            <pc:docMk/>
            <pc:sldMk cId="1562976763" sldId="302"/>
            <ac:cxnSpMk id="81" creationId="{9C8FC23C-EAB1-48BB-BE31-15D96A9882EC}"/>
          </ac:cxnSpMkLst>
        </pc:cxnChg>
        <pc:cxnChg chg="mod">
          <ac:chgData name="Travis Nesse" userId="7f5cd6f3-7534-4332-8f38-a3b44d62a5a5" providerId="ADAL" clId="{5453E09B-1CD2-45CF-B668-DFE6F9963229}" dt="2020-06-26T18:25:01.235" v="185" actId="1076"/>
          <ac:cxnSpMkLst>
            <pc:docMk/>
            <pc:sldMk cId="1562976763" sldId="302"/>
            <ac:cxnSpMk id="85" creationId="{8A18F480-6146-4F08-ABB9-20B05692D288}"/>
          </ac:cxnSpMkLst>
        </pc:cxnChg>
        <pc:cxnChg chg="mod">
          <ac:chgData name="Travis Nesse" userId="7f5cd6f3-7534-4332-8f38-a3b44d62a5a5" providerId="ADAL" clId="{5453E09B-1CD2-45CF-B668-DFE6F9963229}" dt="2020-06-26T18:25:01.235" v="185" actId="1076"/>
          <ac:cxnSpMkLst>
            <pc:docMk/>
            <pc:sldMk cId="1562976763" sldId="302"/>
            <ac:cxnSpMk id="86" creationId="{DFD2459C-F374-4A7F-821F-9CA319BD7BFB}"/>
          </ac:cxnSpMkLst>
        </pc:cxnChg>
        <pc:cxnChg chg="mod">
          <ac:chgData name="Travis Nesse" userId="7f5cd6f3-7534-4332-8f38-a3b44d62a5a5" providerId="ADAL" clId="{5453E09B-1CD2-45CF-B668-DFE6F9963229}" dt="2020-06-26T18:25:01.235" v="185" actId="1076"/>
          <ac:cxnSpMkLst>
            <pc:docMk/>
            <pc:sldMk cId="1562976763" sldId="302"/>
            <ac:cxnSpMk id="87" creationId="{270ABC7E-2150-4C1D-906C-95AB5F70BB96}"/>
          </ac:cxnSpMkLst>
        </pc:cxnChg>
        <pc:cxnChg chg="mod">
          <ac:chgData name="Travis Nesse" userId="7f5cd6f3-7534-4332-8f38-a3b44d62a5a5" providerId="ADAL" clId="{5453E09B-1CD2-45CF-B668-DFE6F9963229}" dt="2020-06-26T18:25:01.235" v="185" actId="1076"/>
          <ac:cxnSpMkLst>
            <pc:docMk/>
            <pc:sldMk cId="1562976763" sldId="302"/>
            <ac:cxnSpMk id="88" creationId="{3F523A1E-880D-46AC-BB65-C4546DEE58EE}"/>
          </ac:cxnSpMkLst>
        </pc:cxnChg>
        <pc:cxnChg chg="mod">
          <ac:chgData name="Travis Nesse" userId="7f5cd6f3-7534-4332-8f38-a3b44d62a5a5" providerId="ADAL" clId="{5453E09B-1CD2-45CF-B668-DFE6F9963229}" dt="2020-06-26T18:25:01.235" v="185" actId="1076"/>
          <ac:cxnSpMkLst>
            <pc:docMk/>
            <pc:sldMk cId="1562976763" sldId="302"/>
            <ac:cxnSpMk id="91" creationId="{6C612ABC-6D3D-4E6D-A372-F6DEBBA7338F}"/>
          </ac:cxnSpMkLst>
        </pc:cxnChg>
        <pc:cxnChg chg="mod">
          <ac:chgData name="Travis Nesse" userId="7f5cd6f3-7534-4332-8f38-a3b44d62a5a5" providerId="ADAL" clId="{5453E09B-1CD2-45CF-B668-DFE6F9963229}" dt="2020-06-26T18:25:01.235" v="185" actId="1076"/>
          <ac:cxnSpMkLst>
            <pc:docMk/>
            <pc:sldMk cId="1562976763" sldId="302"/>
            <ac:cxnSpMk id="104" creationId="{7B7F34D8-EEE6-4529-A285-4C338660133B}"/>
          </ac:cxnSpMkLst>
        </pc:cxnChg>
        <pc:cxnChg chg="mod">
          <ac:chgData name="Travis Nesse" userId="7f5cd6f3-7534-4332-8f38-a3b44d62a5a5" providerId="ADAL" clId="{5453E09B-1CD2-45CF-B668-DFE6F9963229}" dt="2020-06-26T18:25:01.235" v="185" actId="1076"/>
          <ac:cxnSpMkLst>
            <pc:docMk/>
            <pc:sldMk cId="1562976763" sldId="302"/>
            <ac:cxnSpMk id="105" creationId="{9C474457-9E98-438F-925B-0460CC352610}"/>
          </ac:cxnSpMkLst>
        </pc:cxnChg>
        <pc:cxnChg chg="mod">
          <ac:chgData name="Travis Nesse" userId="7f5cd6f3-7534-4332-8f38-a3b44d62a5a5" providerId="ADAL" clId="{5453E09B-1CD2-45CF-B668-DFE6F9963229}" dt="2020-06-26T18:25:01.235" v="185" actId="1076"/>
          <ac:cxnSpMkLst>
            <pc:docMk/>
            <pc:sldMk cId="1562976763" sldId="302"/>
            <ac:cxnSpMk id="106" creationId="{3F614C8B-DDCE-4151-8F1E-C7B275615279}"/>
          </ac:cxnSpMkLst>
        </pc:cxnChg>
        <pc:cxnChg chg="mod">
          <ac:chgData name="Travis Nesse" userId="7f5cd6f3-7534-4332-8f38-a3b44d62a5a5" providerId="ADAL" clId="{5453E09B-1CD2-45CF-B668-DFE6F9963229}" dt="2020-06-26T18:25:01.235" v="185" actId="1076"/>
          <ac:cxnSpMkLst>
            <pc:docMk/>
            <pc:sldMk cId="1562976763" sldId="302"/>
            <ac:cxnSpMk id="107" creationId="{DA9EC1D1-41F0-4F9E-815A-10D39F770E4E}"/>
          </ac:cxnSpMkLst>
        </pc:cxnChg>
      </pc:sldChg>
      <pc:sldChg chg="addSp delSp modSp add">
        <pc:chgData name="Travis Nesse" userId="7f5cd6f3-7534-4332-8f38-a3b44d62a5a5" providerId="ADAL" clId="{5453E09B-1CD2-45CF-B668-DFE6F9963229}" dt="2020-06-26T18:34:41.118" v="533" actId="1036"/>
        <pc:sldMkLst>
          <pc:docMk/>
          <pc:sldMk cId="1293303930" sldId="303"/>
        </pc:sldMkLst>
        <pc:spChg chg="add mod">
          <ac:chgData name="Travis Nesse" userId="7f5cd6f3-7534-4332-8f38-a3b44d62a5a5" providerId="ADAL" clId="{5453E09B-1CD2-45CF-B668-DFE6F9963229}" dt="2020-06-26T18:33:40.432" v="506" actId="1076"/>
          <ac:spMkLst>
            <pc:docMk/>
            <pc:sldMk cId="1293303930" sldId="303"/>
            <ac:spMk id="2" creationId="{23A7EFD4-D6DC-428D-B915-4802AAC8608E}"/>
          </ac:spMkLst>
        </pc:spChg>
        <pc:spChg chg="add mod ord">
          <ac:chgData name="Travis Nesse" userId="7f5cd6f3-7534-4332-8f38-a3b44d62a5a5" providerId="ADAL" clId="{5453E09B-1CD2-45CF-B668-DFE6F9963229}" dt="2020-06-26T18:33:07.716" v="496" actId="14861"/>
          <ac:spMkLst>
            <pc:docMk/>
            <pc:sldMk cId="1293303930" sldId="303"/>
            <ac:spMk id="3" creationId="{4BA753CF-E23D-4D51-A7AE-F94A4A18B975}"/>
          </ac:spMkLst>
        </pc:spChg>
        <pc:spChg chg="mod">
          <ac:chgData name="Travis Nesse" userId="7f5cd6f3-7534-4332-8f38-a3b44d62a5a5" providerId="ADAL" clId="{5453E09B-1CD2-45CF-B668-DFE6F9963229}" dt="2020-06-26T18:31:21.395" v="453" actId="14100"/>
          <ac:spMkLst>
            <pc:docMk/>
            <pc:sldMk cId="1293303930" sldId="303"/>
            <ac:spMk id="5" creationId="{92EFB6BD-A7D8-473E-8CD3-E8D8B5EE782F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55" creationId="{FF5CCB37-CB5B-47BF-873E-A735A5D4EC14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57" creationId="{C2A0A421-8784-48FF-9CFC-408E3445EAAA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64" creationId="{EB76A3EE-AC96-4ADA-83AB-47A31C34FB73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66" creationId="{3877753C-D947-43AB-B654-245681453032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67" creationId="{9440CCD1-391D-42CF-B231-8D1BB73BCF93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68" creationId="{742615A3-9FAF-4F0F-A134-36BED6AFBD12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69" creationId="{57A31843-186F-468F-AB49-0B3D8A258560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70" creationId="{C6AF7D4E-0E61-4BFC-9D03-EB2DC421222F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71" creationId="{B57DF866-57BA-47C1-923A-F8E22F7599C9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72" creationId="{EBFC66DA-76C2-4737-95B9-AD5717B4D35B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73" creationId="{FDE1C2F3-989E-4948-86C2-479567A25091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74" creationId="{47583943-E3EA-44F7-8CEE-EA354353F29B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75" creationId="{375467D7-9758-46F7-B28F-40BD3EBE7AC4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76" creationId="{CB75C626-7C5F-4419-879D-23550D86FEB5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77" creationId="{5974715D-49E3-4DB4-881F-51F1641F7651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78" creationId="{0C1A140D-C276-4676-B698-D3799DFD731B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82" creationId="{3EDDF442-922D-4B72-AE01-D1DA28B3024F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83" creationId="{B6B04159-7BA7-4361-8F17-F4C9FA010E61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84" creationId="{934544AA-9B6B-420D-871C-904013A74787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89" creationId="{BABF54A5-5F54-4D0C-A9FB-904020F474D0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90" creationId="{BAF67299-9D8E-4A7E-98F1-D15DB357A193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92" creationId="{8C76E270-A5E4-4055-B0B1-277A0B0BFB68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93" creationId="{3D0BBB44-ED23-4E8C-BA68-EFBF8FBABD88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101" creationId="{AAB5BCAA-03CA-4004-9048-A6673A45F1B3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102" creationId="{FDD4ABEE-8ADF-4309-AD25-A7953A5476E5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103" creationId="{8E6A83E3-C255-4808-A5FE-15BFA653FA8A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108" creationId="{9A193F1F-A044-4C1B-AD28-41E0BAE610B3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109" creationId="{648252A8-88CA-4D36-BFAC-3087EF7D563D}"/>
          </ac:spMkLst>
        </pc:spChg>
        <pc:spChg chg="add mod">
          <ac:chgData name="Travis Nesse" userId="7f5cd6f3-7534-4332-8f38-a3b44d62a5a5" providerId="ADAL" clId="{5453E09B-1CD2-45CF-B668-DFE6F9963229}" dt="2020-06-26T18:31:32.276" v="461" actId="1038"/>
          <ac:spMkLst>
            <pc:docMk/>
            <pc:sldMk cId="1293303930" sldId="303"/>
            <ac:spMk id="152" creationId="{A8F8188B-A905-4340-8D87-5124E4DC6736}"/>
          </ac:spMkLst>
        </pc:spChg>
        <pc:spChg chg="add mod">
          <ac:chgData name="Travis Nesse" userId="7f5cd6f3-7534-4332-8f38-a3b44d62a5a5" providerId="ADAL" clId="{5453E09B-1CD2-45CF-B668-DFE6F9963229}" dt="2020-06-26T18:33:54.834" v="510" actId="1076"/>
          <ac:spMkLst>
            <pc:docMk/>
            <pc:sldMk cId="1293303930" sldId="303"/>
            <ac:spMk id="153" creationId="{4F4F16B7-CA2B-48D6-B40F-F43A18A513F1}"/>
          </ac:spMkLst>
        </pc:spChg>
        <pc:spChg chg="add mod">
          <ac:chgData name="Travis Nesse" userId="7f5cd6f3-7534-4332-8f38-a3b44d62a5a5" providerId="ADAL" clId="{5453E09B-1CD2-45CF-B668-DFE6F9963229}" dt="2020-06-26T18:34:34.718" v="529" actId="1037"/>
          <ac:spMkLst>
            <pc:docMk/>
            <pc:sldMk cId="1293303930" sldId="303"/>
            <ac:spMk id="155" creationId="{C620020C-6962-4CE0-BCF2-D75641DFE9E1}"/>
          </ac:spMkLst>
        </pc:spChg>
        <pc:spChg chg="add mod">
          <ac:chgData name="Travis Nesse" userId="7f5cd6f3-7534-4332-8f38-a3b44d62a5a5" providerId="ADAL" clId="{5453E09B-1CD2-45CF-B668-DFE6F9963229}" dt="2020-06-26T18:34:02.715" v="513" actId="1076"/>
          <ac:spMkLst>
            <pc:docMk/>
            <pc:sldMk cId="1293303930" sldId="303"/>
            <ac:spMk id="156" creationId="{7A41545C-9F51-4BE7-831E-D328F60FF46A}"/>
          </ac:spMkLst>
        </pc:spChg>
        <pc:spChg chg="add mod">
          <ac:chgData name="Travis Nesse" userId="7f5cd6f3-7534-4332-8f38-a3b44d62a5a5" providerId="ADAL" clId="{5453E09B-1CD2-45CF-B668-DFE6F9963229}" dt="2020-06-26T18:33:40.432" v="506" actId="1076"/>
          <ac:spMkLst>
            <pc:docMk/>
            <pc:sldMk cId="1293303930" sldId="303"/>
            <ac:spMk id="157" creationId="{45B91D4E-E13C-4A35-A02A-811B7AAC5393}"/>
          </ac:spMkLst>
        </pc:spChg>
        <pc:spChg chg="add mod">
          <ac:chgData name="Travis Nesse" userId="7f5cd6f3-7534-4332-8f38-a3b44d62a5a5" providerId="ADAL" clId="{5453E09B-1CD2-45CF-B668-DFE6F9963229}" dt="2020-06-26T18:33:52.008" v="509" actId="1076"/>
          <ac:spMkLst>
            <pc:docMk/>
            <pc:sldMk cId="1293303930" sldId="303"/>
            <ac:spMk id="158" creationId="{3DBEA614-D948-4540-9D7F-2CB3B8CDD78B}"/>
          </ac:spMkLst>
        </pc:spChg>
        <pc:spChg chg="add mod">
          <ac:chgData name="Travis Nesse" userId="7f5cd6f3-7534-4332-8f38-a3b44d62a5a5" providerId="ADAL" clId="{5453E09B-1CD2-45CF-B668-DFE6F9963229}" dt="2020-06-26T18:34:41.118" v="533" actId="1036"/>
          <ac:spMkLst>
            <pc:docMk/>
            <pc:sldMk cId="1293303930" sldId="303"/>
            <ac:spMk id="159" creationId="{A7576F0F-ED8E-4FAD-ACD2-5A4C628ED8B4}"/>
          </ac:spMkLst>
        </pc:spChg>
        <pc:spChg chg="add mod">
          <ac:chgData name="Travis Nesse" userId="7f5cd6f3-7534-4332-8f38-a3b44d62a5a5" providerId="ADAL" clId="{5453E09B-1CD2-45CF-B668-DFE6F9963229}" dt="2020-06-26T18:34:41.118" v="533" actId="1036"/>
          <ac:spMkLst>
            <pc:docMk/>
            <pc:sldMk cId="1293303930" sldId="303"/>
            <ac:spMk id="160" creationId="{63F580A4-CAB8-455F-9BF3-69BA8560737B}"/>
          </ac:spMkLst>
        </pc:spChg>
        <pc:spChg chg="add mod ord">
          <ac:chgData name="Travis Nesse" userId="7f5cd6f3-7534-4332-8f38-a3b44d62a5a5" providerId="ADAL" clId="{5453E09B-1CD2-45CF-B668-DFE6F9963229}" dt="2020-06-26T18:33:13.197" v="499" actId="167"/>
          <ac:spMkLst>
            <pc:docMk/>
            <pc:sldMk cId="1293303930" sldId="303"/>
            <ac:spMk id="161" creationId="{7941680F-FB9A-45DE-AFB7-631D916AC857}"/>
          </ac:spMkLst>
        </pc:spChg>
        <pc:spChg chg="add mod ord">
          <ac:chgData name="Travis Nesse" userId="7f5cd6f3-7534-4332-8f38-a3b44d62a5a5" providerId="ADAL" clId="{5453E09B-1CD2-45CF-B668-DFE6F9963229}" dt="2020-06-26T18:33:20.124" v="502" actId="167"/>
          <ac:spMkLst>
            <pc:docMk/>
            <pc:sldMk cId="1293303930" sldId="303"/>
            <ac:spMk id="162" creationId="{C120E214-35EB-4B5C-A105-C4BFC0B193C5}"/>
          </ac:spMkLst>
        </pc:spChg>
        <pc:spChg chg="add mod ord">
          <ac:chgData name="Travis Nesse" userId="7f5cd6f3-7534-4332-8f38-a3b44d62a5a5" providerId="ADAL" clId="{5453E09B-1CD2-45CF-B668-DFE6F9963229}" dt="2020-06-26T18:33:25.345" v="505" actId="167"/>
          <ac:spMkLst>
            <pc:docMk/>
            <pc:sldMk cId="1293303930" sldId="303"/>
            <ac:spMk id="163" creationId="{5DFD7C1A-A5DC-4352-82FC-A5AF631FD377}"/>
          </ac:spMkLst>
        </pc:spChg>
        <pc:grpChg chg="del">
          <ac:chgData name="Travis Nesse" userId="7f5cd6f3-7534-4332-8f38-a3b44d62a5a5" providerId="ADAL" clId="{5453E09B-1CD2-45CF-B668-DFE6F9963229}" dt="2020-06-26T18:27:03.279" v="202" actId="478"/>
          <ac:grpSpMkLst>
            <pc:docMk/>
            <pc:sldMk cId="1293303930" sldId="303"/>
            <ac:grpSpMk id="94" creationId="{B26A5AEA-1097-4CCA-9B2C-9729F9ACE7F6}"/>
          </ac:grpSpMkLst>
        </pc:grpChg>
        <pc:grpChg chg="del">
          <ac:chgData name="Travis Nesse" userId="7f5cd6f3-7534-4332-8f38-a3b44d62a5a5" providerId="ADAL" clId="{5453E09B-1CD2-45CF-B668-DFE6F9963229}" dt="2020-06-26T18:27:03.279" v="202" actId="478"/>
          <ac:grpSpMkLst>
            <pc:docMk/>
            <pc:sldMk cId="1293303930" sldId="303"/>
            <ac:grpSpMk id="110" creationId="{5CE790A6-7EED-4956-BCD5-4BB3925A4716}"/>
          </ac:grpSpMkLst>
        </pc:grpChg>
        <pc:grpChg chg="del">
          <ac:chgData name="Travis Nesse" userId="7f5cd6f3-7534-4332-8f38-a3b44d62a5a5" providerId="ADAL" clId="{5453E09B-1CD2-45CF-B668-DFE6F9963229}" dt="2020-06-26T18:27:03.279" v="202" actId="478"/>
          <ac:grpSpMkLst>
            <pc:docMk/>
            <pc:sldMk cId="1293303930" sldId="303"/>
            <ac:grpSpMk id="113" creationId="{6FE917A2-BE5A-45BE-93DE-A09C3B4BB25E}"/>
          </ac:grpSpMkLst>
        </pc:grpChg>
        <pc:grpChg chg="del">
          <ac:chgData name="Travis Nesse" userId="7f5cd6f3-7534-4332-8f38-a3b44d62a5a5" providerId="ADAL" clId="{5453E09B-1CD2-45CF-B668-DFE6F9963229}" dt="2020-06-26T18:27:03.279" v="202" actId="478"/>
          <ac:grpSpMkLst>
            <pc:docMk/>
            <pc:sldMk cId="1293303930" sldId="303"/>
            <ac:grpSpMk id="116" creationId="{D43CAFF9-7F9D-40A9-A711-9F6ACABF65A8}"/>
          </ac:grpSpMkLst>
        </pc:grpChg>
        <pc:grpChg chg="del">
          <ac:chgData name="Travis Nesse" userId="7f5cd6f3-7534-4332-8f38-a3b44d62a5a5" providerId="ADAL" clId="{5453E09B-1CD2-45CF-B668-DFE6F9963229}" dt="2020-06-26T18:27:03.279" v="202" actId="478"/>
          <ac:grpSpMkLst>
            <pc:docMk/>
            <pc:sldMk cId="1293303930" sldId="303"/>
            <ac:grpSpMk id="119" creationId="{B17E8E7C-7A65-4AA4-AA26-E734BBCBCE6C}"/>
          </ac:grpSpMkLst>
        </pc:grpChg>
        <pc:grpChg chg="del">
          <ac:chgData name="Travis Nesse" userId="7f5cd6f3-7534-4332-8f38-a3b44d62a5a5" providerId="ADAL" clId="{5453E09B-1CD2-45CF-B668-DFE6F9963229}" dt="2020-06-26T18:27:03.279" v="202" actId="478"/>
          <ac:grpSpMkLst>
            <pc:docMk/>
            <pc:sldMk cId="1293303930" sldId="303"/>
            <ac:grpSpMk id="122" creationId="{3CAB3698-C112-4723-9240-3292FB57ACD9}"/>
          </ac:grpSpMkLst>
        </pc:grpChg>
        <pc:grpChg chg="del">
          <ac:chgData name="Travis Nesse" userId="7f5cd6f3-7534-4332-8f38-a3b44d62a5a5" providerId="ADAL" clId="{5453E09B-1CD2-45CF-B668-DFE6F9963229}" dt="2020-06-26T18:27:03.279" v="202" actId="478"/>
          <ac:grpSpMkLst>
            <pc:docMk/>
            <pc:sldMk cId="1293303930" sldId="303"/>
            <ac:grpSpMk id="126" creationId="{6D05DAD3-FC97-4F98-9AA5-0D346E91B3D2}"/>
          </ac:grpSpMkLst>
        </pc:grpChg>
        <pc:grpChg chg="del">
          <ac:chgData name="Travis Nesse" userId="7f5cd6f3-7534-4332-8f38-a3b44d62a5a5" providerId="ADAL" clId="{5453E09B-1CD2-45CF-B668-DFE6F9963229}" dt="2020-06-26T18:27:03.279" v="202" actId="478"/>
          <ac:grpSpMkLst>
            <pc:docMk/>
            <pc:sldMk cId="1293303930" sldId="303"/>
            <ac:grpSpMk id="129" creationId="{433A83F3-82DF-4574-B070-34EF62C954D7}"/>
          </ac:grpSpMkLst>
        </pc:grpChg>
        <pc:grpChg chg="del">
          <ac:chgData name="Travis Nesse" userId="7f5cd6f3-7534-4332-8f38-a3b44d62a5a5" providerId="ADAL" clId="{5453E09B-1CD2-45CF-B668-DFE6F9963229}" dt="2020-06-26T18:27:03.279" v="202" actId="478"/>
          <ac:grpSpMkLst>
            <pc:docMk/>
            <pc:sldMk cId="1293303930" sldId="303"/>
            <ac:grpSpMk id="132" creationId="{5DE79275-E08C-4173-80CF-22A0229844BC}"/>
          </ac:grpSpMkLst>
        </pc:grpChg>
        <pc:grpChg chg="del">
          <ac:chgData name="Travis Nesse" userId="7f5cd6f3-7534-4332-8f38-a3b44d62a5a5" providerId="ADAL" clId="{5453E09B-1CD2-45CF-B668-DFE6F9963229}" dt="2020-06-26T18:27:03.279" v="202" actId="478"/>
          <ac:grpSpMkLst>
            <pc:docMk/>
            <pc:sldMk cId="1293303930" sldId="303"/>
            <ac:grpSpMk id="135" creationId="{63F8E982-971A-4F20-92C0-0B4997A517C8}"/>
          </ac:grpSpMkLst>
        </pc:grpChg>
        <pc:grpChg chg="del">
          <ac:chgData name="Travis Nesse" userId="7f5cd6f3-7534-4332-8f38-a3b44d62a5a5" providerId="ADAL" clId="{5453E09B-1CD2-45CF-B668-DFE6F9963229}" dt="2020-06-26T18:27:03.279" v="202" actId="478"/>
          <ac:grpSpMkLst>
            <pc:docMk/>
            <pc:sldMk cId="1293303930" sldId="303"/>
            <ac:grpSpMk id="138" creationId="{AE9C8006-CCA8-4832-AE80-205A529CFD63}"/>
          </ac:grpSpMkLst>
        </pc:grpChg>
        <pc:grpChg chg="del">
          <ac:chgData name="Travis Nesse" userId="7f5cd6f3-7534-4332-8f38-a3b44d62a5a5" providerId="ADAL" clId="{5453E09B-1CD2-45CF-B668-DFE6F9963229}" dt="2020-06-26T18:27:03.279" v="202" actId="478"/>
          <ac:grpSpMkLst>
            <pc:docMk/>
            <pc:sldMk cId="1293303930" sldId="303"/>
            <ac:grpSpMk id="141" creationId="{11106CD2-F943-425D-874D-C59AE0EF0274}"/>
          </ac:grpSpMkLst>
        </pc:grpChg>
        <pc:grpChg chg="del">
          <ac:chgData name="Travis Nesse" userId="7f5cd6f3-7534-4332-8f38-a3b44d62a5a5" providerId="ADAL" clId="{5453E09B-1CD2-45CF-B668-DFE6F9963229}" dt="2020-06-26T18:27:03.279" v="202" actId="478"/>
          <ac:grpSpMkLst>
            <pc:docMk/>
            <pc:sldMk cId="1293303930" sldId="303"/>
            <ac:grpSpMk id="144" creationId="{B550E2C5-4F36-4597-B871-B46FEF2B03D1}"/>
          </ac:grpSpMkLst>
        </pc:grpChg>
        <pc:grpChg chg="del">
          <ac:chgData name="Travis Nesse" userId="7f5cd6f3-7534-4332-8f38-a3b44d62a5a5" providerId="ADAL" clId="{5453E09B-1CD2-45CF-B668-DFE6F9963229}" dt="2020-06-26T18:27:03.279" v="202" actId="478"/>
          <ac:grpSpMkLst>
            <pc:docMk/>
            <pc:sldMk cId="1293303930" sldId="303"/>
            <ac:grpSpMk id="147" creationId="{1161B777-7BC3-4CA7-BD76-73B254974C89}"/>
          </ac:grpSpMkLst>
        </pc:grpChg>
        <pc:picChg chg="add del mod">
          <ac:chgData name="Travis Nesse" userId="7f5cd6f3-7534-4332-8f38-a3b44d62a5a5" providerId="ADAL" clId="{5453E09B-1CD2-45CF-B668-DFE6F9963229}" dt="2020-06-26T18:31:35.578" v="462" actId="478"/>
          <ac:picMkLst>
            <pc:docMk/>
            <pc:sldMk cId="1293303930" sldId="303"/>
            <ac:picMk id="151" creationId="{6FF294B8-4C07-4490-8AAF-ADA23A2CC1BC}"/>
          </ac:picMkLst>
        </pc:picChg>
        <pc:cxnChg chg="del">
          <ac:chgData name="Travis Nesse" userId="7f5cd6f3-7534-4332-8f38-a3b44d62a5a5" providerId="ADAL" clId="{5453E09B-1CD2-45CF-B668-DFE6F9963229}" dt="2020-06-26T18:27:03.279" v="202" actId="478"/>
          <ac:cxnSpMkLst>
            <pc:docMk/>
            <pc:sldMk cId="1293303930" sldId="303"/>
            <ac:cxnSpMk id="65" creationId="{D7A0994E-F5CE-4284-A85A-FC2796A382AF}"/>
          </ac:cxnSpMkLst>
        </pc:cxnChg>
        <pc:cxnChg chg="del">
          <ac:chgData name="Travis Nesse" userId="7f5cd6f3-7534-4332-8f38-a3b44d62a5a5" providerId="ADAL" clId="{5453E09B-1CD2-45CF-B668-DFE6F9963229}" dt="2020-06-26T18:27:03.279" v="202" actId="478"/>
          <ac:cxnSpMkLst>
            <pc:docMk/>
            <pc:sldMk cId="1293303930" sldId="303"/>
            <ac:cxnSpMk id="79" creationId="{613ED603-A273-4302-85B2-296AA451700E}"/>
          </ac:cxnSpMkLst>
        </pc:cxnChg>
        <pc:cxnChg chg="del">
          <ac:chgData name="Travis Nesse" userId="7f5cd6f3-7534-4332-8f38-a3b44d62a5a5" providerId="ADAL" clId="{5453E09B-1CD2-45CF-B668-DFE6F9963229}" dt="2020-06-26T18:27:03.279" v="202" actId="478"/>
          <ac:cxnSpMkLst>
            <pc:docMk/>
            <pc:sldMk cId="1293303930" sldId="303"/>
            <ac:cxnSpMk id="80" creationId="{877535BC-ED7E-4188-9A17-9A738DDC1EFB}"/>
          </ac:cxnSpMkLst>
        </pc:cxnChg>
        <pc:cxnChg chg="del">
          <ac:chgData name="Travis Nesse" userId="7f5cd6f3-7534-4332-8f38-a3b44d62a5a5" providerId="ADAL" clId="{5453E09B-1CD2-45CF-B668-DFE6F9963229}" dt="2020-06-26T18:27:03.279" v="202" actId="478"/>
          <ac:cxnSpMkLst>
            <pc:docMk/>
            <pc:sldMk cId="1293303930" sldId="303"/>
            <ac:cxnSpMk id="81" creationId="{9C8FC23C-EAB1-48BB-BE31-15D96A9882EC}"/>
          </ac:cxnSpMkLst>
        </pc:cxnChg>
        <pc:cxnChg chg="del">
          <ac:chgData name="Travis Nesse" userId="7f5cd6f3-7534-4332-8f38-a3b44d62a5a5" providerId="ADAL" clId="{5453E09B-1CD2-45CF-B668-DFE6F9963229}" dt="2020-06-26T18:27:03.279" v="202" actId="478"/>
          <ac:cxnSpMkLst>
            <pc:docMk/>
            <pc:sldMk cId="1293303930" sldId="303"/>
            <ac:cxnSpMk id="85" creationId="{8A18F480-6146-4F08-ABB9-20B05692D288}"/>
          </ac:cxnSpMkLst>
        </pc:cxnChg>
        <pc:cxnChg chg="del">
          <ac:chgData name="Travis Nesse" userId="7f5cd6f3-7534-4332-8f38-a3b44d62a5a5" providerId="ADAL" clId="{5453E09B-1CD2-45CF-B668-DFE6F9963229}" dt="2020-06-26T18:27:03.279" v="202" actId="478"/>
          <ac:cxnSpMkLst>
            <pc:docMk/>
            <pc:sldMk cId="1293303930" sldId="303"/>
            <ac:cxnSpMk id="86" creationId="{DFD2459C-F374-4A7F-821F-9CA319BD7BFB}"/>
          </ac:cxnSpMkLst>
        </pc:cxnChg>
        <pc:cxnChg chg="del">
          <ac:chgData name="Travis Nesse" userId="7f5cd6f3-7534-4332-8f38-a3b44d62a5a5" providerId="ADAL" clId="{5453E09B-1CD2-45CF-B668-DFE6F9963229}" dt="2020-06-26T18:27:03.279" v="202" actId="478"/>
          <ac:cxnSpMkLst>
            <pc:docMk/>
            <pc:sldMk cId="1293303930" sldId="303"/>
            <ac:cxnSpMk id="87" creationId="{270ABC7E-2150-4C1D-906C-95AB5F70BB96}"/>
          </ac:cxnSpMkLst>
        </pc:cxnChg>
        <pc:cxnChg chg="del">
          <ac:chgData name="Travis Nesse" userId="7f5cd6f3-7534-4332-8f38-a3b44d62a5a5" providerId="ADAL" clId="{5453E09B-1CD2-45CF-B668-DFE6F9963229}" dt="2020-06-26T18:27:03.279" v="202" actId="478"/>
          <ac:cxnSpMkLst>
            <pc:docMk/>
            <pc:sldMk cId="1293303930" sldId="303"/>
            <ac:cxnSpMk id="88" creationId="{3F523A1E-880D-46AC-BB65-C4546DEE58EE}"/>
          </ac:cxnSpMkLst>
        </pc:cxnChg>
        <pc:cxnChg chg="del">
          <ac:chgData name="Travis Nesse" userId="7f5cd6f3-7534-4332-8f38-a3b44d62a5a5" providerId="ADAL" clId="{5453E09B-1CD2-45CF-B668-DFE6F9963229}" dt="2020-06-26T18:27:03.279" v="202" actId="478"/>
          <ac:cxnSpMkLst>
            <pc:docMk/>
            <pc:sldMk cId="1293303930" sldId="303"/>
            <ac:cxnSpMk id="91" creationId="{6C612ABC-6D3D-4E6D-A372-F6DEBBA7338F}"/>
          </ac:cxnSpMkLst>
        </pc:cxnChg>
        <pc:cxnChg chg="del">
          <ac:chgData name="Travis Nesse" userId="7f5cd6f3-7534-4332-8f38-a3b44d62a5a5" providerId="ADAL" clId="{5453E09B-1CD2-45CF-B668-DFE6F9963229}" dt="2020-06-26T18:27:03.279" v="202" actId="478"/>
          <ac:cxnSpMkLst>
            <pc:docMk/>
            <pc:sldMk cId="1293303930" sldId="303"/>
            <ac:cxnSpMk id="104" creationId="{7B7F34D8-EEE6-4529-A285-4C338660133B}"/>
          </ac:cxnSpMkLst>
        </pc:cxnChg>
        <pc:cxnChg chg="del">
          <ac:chgData name="Travis Nesse" userId="7f5cd6f3-7534-4332-8f38-a3b44d62a5a5" providerId="ADAL" clId="{5453E09B-1CD2-45CF-B668-DFE6F9963229}" dt="2020-06-26T18:27:03.279" v="202" actId="478"/>
          <ac:cxnSpMkLst>
            <pc:docMk/>
            <pc:sldMk cId="1293303930" sldId="303"/>
            <ac:cxnSpMk id="105" creationId="{9C474457-9E98-438F-925B-0460CC352610}"/>
          </ac:cxnSpMkLst>
        </pc:cxnChg>
        <pc:cxnChg chg="del">
          <ac:chgData name="Travis Nesse" userId="7f5cd6f3-7534-4332-8f38-a3b44d62a5a5" providerId="ADAL" clId="{5453E09B-1CD2-45CF-B668-DFE6F9963229}" dt="2020-06-26T18:27:03.279" v="202" actId="478"/>
          <ac:cxnSpMkLst>
            <pc:docMk/>
            <pc:sldMk cId="1293303930" sldId="303"/>
            <ac:cxnSpMk id="106" creationId="{3F614C8B-DDCE-4151-8F1E-C7B275615279}"/>
          </ac:cxnSpMkLst>
        </pc:cxnChg>
        <pc:cxnChg chg="del">
          <ac:chgData name="Travis Nesse" userId="7f5cd6f3-7534-4332-8f38-a3b44d62a5a5" providerId="ADAL" clId="{5453E09B-1CD2-45CF-B668-DFE6F9963229}" dt="2020-06-26T18:27:03.279" v="202" actId="478"/>
          <ac:cxnSpMkLst>
            <pc:docMk/>
            <pc:sldMk cId="1293303930" sldId="303"/>
            <ac:cxnSpMk id="107" creationId="{DA9EC1D1-41F0-4F9E-815A-10D39F770E4E}"/>
          </ac:cxnSpMkLst>
        </pc:cxnChg>
        <pc:cxnChg chg="add del mod">
          <ac:chgData name="Travis Nesse" userId="7f5cd6f3-7534-4332-8f38-a3b44d62a5a5" providerId="ADAL" clId="{5453E09B-1CD2-45CF-B668-DFE6F9963229}" dt="2020-06-26T18:27:27.802" v="208" actId="478"/>
          <ac:cxnSpMkLst>
            <pc:docMk/>
            <pc:sldMk cId="1293303930" sldId="303"/>
            <ac:cxnSpMk id="150" creationId="{63C4F6ED-274D-41E0-8DC1-B18FD11F537D}"/>
          </ac:cxnSpMkLst>
        </pc:cxnChg>
      </pc:sldChg>
    </pc:docChg>
  </pc:docChgLst>
  <pc:docChgLst>
    <pc:chgData name="Maren Fewel" userId="S::maren@audienz.com::0ba250fd-40c1-4e5d-bc4a-82894808bd80" providerId="AD" clId="Web-{8F021FE0-DB22-1E0C-CD00-80A396C2C463}"/>
    <pc:docChg chg="modSld">
      <pc:chgData name="Maren Fewel" userId="S::maren@audienz.com::0ba250fd-40c1-4e5d-bc4a-82894808bd80" providerId="AD" clId="Web-{8F021FE0-DB22-1E0C-CD00-80A396C2C463}" dt="2020-07-29T17:36:32.187" v="27" actId="20577"/>
      <pc:docMkLst>
        <pc:docMk/>
      </pc:docMkLst>
      <pc:sldChg chg="modSp">
        <pc:chgData name="Maren Fewel" userId="S::maren@audienz.com::0ba250fd-40c1-4e5d-bc4a-82894808bd80" providerId="AD" clId="Web-{8F021FE0-DB22-1E0C-CD00-80A396C2C463}" dt="2020-07-29T17:36:32.187" v="26" actId="20577"/>
        <pc:sldMkLst>
          <pc:docMk/>
          <pc:sldMk cId="1562976763" sldId="302"/>
        </pc:sldMkLst>
        <pc:spChg chg="mod">
          <ac:chgData name="Maren Fewel" userId="S::maren@audienz.com::0ba250fd-40c1-4e5d-bc4a-82894808bd80" providerId="AD" clId="Web-{8F021FE0-DB22-1E0C-CD00-80A396C2C463}" dt="2020-07-29T17:36:05.373" v="8" actId="20577"/>
          <ac:spMkLst>
            <pc:docMk/>
            <pc:sldMk cId="1562976763" sldId="302"/>
            <ac:spMk id="55" creationId="{FF5CCB37-CB5B-47BF-873E-A735A5D4EC14}"/>
          </ac:spMkLst>
        </pc:spChg>
        <pc:spChg chg="mod">
          <ac:chgData name="Maren Fewel" userId="S::maren@audienz.com::0ba250fd-40c1-4e5d-bc4a-82894808bd80" providerId="AD" clId="Web-{8F021FE0-DB22-1E0C-CD00-80A396C2C463}" dt="2020-07-29T17:36:08.248" v="13" actId="20577"/>
          <ac:spMkLst>
            <pc:docMk/>
            <pc:sldMk cId="1562976763" sldId="302"/>
            <ac:spMk id="57" creationId="{C2A0A421-8784-48FF-9CFC-408E3445EAAA}"/>
          </ac:spMkLst>
        </pc:spChg>
        <pc:spChg chg="mod">
          <ac:chgData name="Maren Fewel" userId="S::maren@audienz.com::0ba250fd-40c1-4e5d-bc4a-82894808bd80" providerId="AD" clId="Web-{8F021FE0-DB22-1E0C-CD00-80A396C2C463}" dt="2020-07-29T17:36:16.639" v="17" actId="20577"/>
          <ac:spMkLst>
            <pc:docMk/>
            <pc:sldMk cId="1562976763" sldId="302"/>
            <ac:spMk id="64" creationId="{EB76A3EE-AC96-4ADA-83AB-47A31C34FB73}"/>
          </ac:spMkLst>
        </pc:spChg>
        <pc:spChg chg="mod">
          <ac:chgData name="Maren Fewel" userId="S::maren@audienz.com::0ba250fd-40c1-4e5d-bc4a-82894808bd80" providerId="AD" clId="Web-{8F021FE0-DB22-1E0C-CD00-80A396C2C463}" dt="2020-07-29T17:36:24.389" v="20" actId="20577"/>
          <ac:spMkLst>
            <pc:docMk/>
            <pc:sldMk cId="1562976763" sldId="302"/>
            <ac:spMk id="82" creationId="{3EDDF442-922D-4B72-AE01-D1DA28B3024F}"/>
          </ac:spMkLst>
        </pc:spChg>
        <pc:spChg chg="mod">
          <ac:chgData name="Maren Fewel" userId="S::maren@audienz.com::0ba250fd-40c1-4e5d-bc4a-82894808bd80" providerId="AD" clId="Web-{8F021FE0-DB22-1E0C-CD00-80A396C2C463}" dt="2020-07-29T17:36:28.061" v="23" actId="20577"/>
          <ac:spMkLst>
            <pc:docMk/>
            <pc:sldMk cId="1562976763" sldId="302"/>
            <ac:spMk id="83" creationId="{B6B04159-7BA7-4361-8F17-F4C9FA010E61}"/>
          </ac:spMkLst>
        </pc:spChg>
        <pc:spChg chg="mod">
          <ac:chgData name="Maren Fewel" userId="S::maren@audienz.com::0ba250fd-40c1-4e5d-bc4a-82894808bd80" providerId="AD" clId="Web-{8F021FE0-DB22-1E0C-CD00-80A396C2C463}" dt="2020-07-29T17:36:32.187" v="26" actId="20577"/>
          <ac:spMkLst>
            <pc:docMk/>
            <pc:sldMk cId="1562976763" sldId="302"/>
            <ac:spMk id="109" creationId="{648252A8-88CA-4D36-BFAC-3087EF7D563D}"/>
          </ac:spMkLst>
        </pc:spChg>
      </pc:sldChg>
      <pc:sldChg chg="modSp">
        <pc:chgData name="Maren Fewel" userId="S::maren@audienz.com::0ba250fd-40c1-4e5d-bc4a-82894808bd80" providerId="AD" clId="Web-{8F021FE0-DB22-1E0C-CD00-80A396C2C463}" dt="2020-07-29T17:35:54.389" v="3" actId="20577"/>
        <pc:sldMkLst>
          <pc:docMk/>
          <pc:sldMk cId="1293303930" sldId="303"/>
        </pc:sldMkLst>
        <pc:spChg chg="mod">
          <ac:chgData name="Maren Fewel" userId="S::maren@audienz.com::0ba250fd-40c1-4e5d-bc4a-82894808bd80" providerId="AD" clId="Web-{8F021FE0-DB22-1E0C-CD00-80A396C2C463}" dt="2020-07-29T17:35:52.779" v="0" actId="20577"/>
          <ac:spMkLst>
            <pc:docMk/>
            <pc:sldMk cId="1293303930" sldId="303"/>
            <ac:spMk id="152" creationId="{A8F8188B-A905-4340-8D87-5124E4DC6736}"/>
          </ac:spMkLst>
        </pc:spChg>
        <pc:spChg chg="mod">
          <ac:chgData name="Maren Fewel" userId="S::maren@audienz.com::0ba250fd-40c1-4e5d-bc4a-82894808bd80" providerId="AD" clId="Web-{8F021FE0-DB22-1E0C-CD00-80A396C2C463}" dt="2020-07-29T17:35:54.389" v="3" actId="20577"/>
          <ac:spMkLst>
            <pc:docMk/>
            <pc:sldMk cId="1293303930" sldId="303"/>
            <ac:spMk id="157" creationId="{45B91D4E-E13C-4A35-A02A-811B7AAC5393}"/>
          </ac:spMkLst>
        </pc:spChg>
      </pc:sldChg>
    </pc:docChg>
  </pc:docChgLst>
  <pc:docChgLst>
    <pc:chgData name="Connor Schmidt" userId="09332ba3-bace-4762-933e-6733a8e21971" providerId="ADAL" clId="{E7D20316-4600-4E5C-AC4A-9D51AADBF5B5}"/>
    <pc:docChg chg="modSld">
      <pc:chgData name="Connor Schmidt" userId="09332ba3-bace-4762-933e-6733a8e21971" providerId="ADAL" clId="{E7D20316-4600-4E5C-AC4A-9D51AADBF5B5}" dt="2020-06-26T20:22:07.676" v="1" actId="20577"/>
      <pc:docMkLst>
        <pc:docMk/>
      </pc:docMkLst>
      <pc:sldChg chg="modSp">
        <pc:chgData name="Connor Schmidt" userId="09332ba3-bace-4762-933e-6733a8e21971" providerId="ADAL" clId="{E7D20316-4600-4E5C-AC4A-9D51AADBF5B5}" dt="2020-06-26T20:22:07.676" v="1" actId="20577"/>
        <pc:sldMkLst>
          <pc:docMk/>
          <pc:sldMk cId="1293303930" sldId="303"/>
        </pc:sldMkLst>
        <pc:spChg chg="mod">
          <ac:chgData name="Connor Schmidt" userId="09332ba3-bace-4762-933e-6733a8e21971" providerId="ADAL" clId="{E7D20316-4600-4E5C-AC4A-9D51AADBF5B5}" dt="2020-06-26T20:22:07.676" v="1" actId="20577"/>
          <ac:spMkLst>
            <pc:docMk/>
            <pc:sldMk cId="1293303930" sldId="303"/>
            <ac:spMk id="157" creationId="{45B91D4E-E13C-4A35-A02A-811B7AAC5393}"/>
          </ac:spMkLst>
        </pc:spChg>
      </pc:sldChg>
    </pc:docChg>
  </pc:docChgLst>
  <pc:docChgLst>
    <pc:chgData name="Mary Lisa Newman" userId="9c8cba21-67a1-4aa9-98ba-c4ca1eda0aa0" providerId="ADAL" clId="{AD395003-C839-4732-8526-C579A15FF224}"/>
    <pc:docChg chg="modSld">
      <pc:chgData name="Mary Lisa Newman" userId="9c8cba21-67a1-4aa9-98ba-c4ca1eda0aa0" providerId="ADAL" clId="{AD395003-C839-4732-8526-C579A15FF224}" dt="2020-07-01T23:39:25.479" v="8" actId="13926"/>
      <pc:docMkLst>
        <pc:docMk/>
      </pc:docMkLst>
      <pc:sldChg chg="modSp">
        <pc:chgData name="Mary Lisa Newman" userId="9c8cba21-67a1-4aa9-98ba-c4ca1eda0aa0" providerId="ADAL" clId="{AD395003-C839-4732-8526-C579A15FF224}" dt="2020-07-01T23:39:25.479" v="8" actId="13926"/>
        <pc:sldMkLst>
          <pc:docMk/>
          <pc:sldMk cId="1562976763" sldId="302"/>
        </pc:sldMkLst>
        <pc:spChg chg="mod">
          <ac:chgData name="Mary Lisa Newman" userId="9c8cba21-67a1-4aa9-98ba-c4ca1eda0aa0" providerId="ADAL" clId="{AD395003-C839-4732-8526-C579A15FF224}" dt="2020-07-01T23:38:59.215" v="2" actId="13926"/>
          <ac:spMkLst>
            <pc:docMk/>
            <pc:sldMk cId="1562976763" sldId="302"/>
            <ac:spMk id="55" creationId="{FF5CCB37-CB5B-47BF-873E-A735A5D4EC14}"/>
          </ac:spMkLst>
        </pc:spChg>
        <pc:spChg chg="mod">
          <ac:chgData name="Mary Lisa Newman" userId="9c8cba21-67a1-4aa9-98ba-c4ca1eda0aa0" providerId="ADAL" clId="{AD395003-C839-4732-8526-C579A15FF224}" dt="2020-07-01T23:39:01.827" v="3" actId="13926"/>
          <ac:spMkLst>
            <pc:docMk/>
            <pc:sldMk cId="1562976763" sldId="302"/>
            <ac:spMk id="57" creationId="{C2A0A421-8784-48FF-9CFC-408E3445EAAA}"/>
          </ac:spMkLst>
        </pc:spChg>
        <pc:spChg chg="mod">
          <ac:chgData name="Mary Lisa Newman" userId="9c8cba21-67a1-4aa9-98ba-c4ca1eda0aa0" providerId="ADAL" clId="{AD395003-C839-4732-8526-C579A15FF224}" dt="2020-07-01T23:39:05.670" v="4" actId="13926"/>
          <ac:spMkLst>
            <pc:docMk/>
            <pc:sldMk cId="1562976763" sldId="302"/>
            <ac:spMk id="64" creationId="{EB76A3EE-AC96-4ADA-83AB-47A31C34FB73}"/>
          </ac:spMkLst>
        </pc:spChg>
        <pc:spChg chg="mod">
          <ac:chgData name="Mary Lisa Newman" userId="9c8cba21-67a1-4aa9-98ba-c4ca1eda0aa0" providerId="ADAL" clId="{AD395003-C839-4732-8526-C579A15FF224}" dt="2020-07-01T23:39:14.956" v="5" actId="13926"/>
          <ac:spMkLst>
            <pc:docMk/>
            <pc:sldMk cId="1562976763" sldId="302"/>
            <ac:spMk id="82" creationId="{3EDDF442-922D-4B72-AE01-D1DA28B3024F}"/>
          </ac:spMkLst>
        </pc:spChg>
        <pc:spChg chg="mod">
          <ac:chgData name="Mary Lisa Newman" userId="9c8cba21-67a1-4aa9-98ba-c4ca1eda0aa0" providerId="ADAL" clId="{AD395003-C839-4732-8526-C579A15FF224}" dt="2020-07-01T23:39:17.876" v="6" actId="13926"/>
          <ac:spMkLst>
            <pc:docMk/>
            <pc:sldMk cId="1562976763" sldId="302"/>
            <ac:spMk id="83" creationId="{B6B04159-7BA7-4361-8F17-F4C9FA010E61}"/>
          </ac:spMkLst>
        </pc:spChg>
        <pc:spChg chg="mod">
          <ac:chgData name="Mary Lisa Newman" userId="9c8cba21-67a1-4aa9-98ba-c4ca1eda0aa0" providerId="ADAL" clId="{AD395003-C839-4732-8526-C579A15FF224}" dt="2020-07-01T23:39:25.479" v="8" actId="13926"/>
          <ac:spMkLst>
            <pc:docMk/>
            <pc:sldMk cId="1562976763" sldId="302"/>
            <ac:spMk id="109" creationId="{648252A8-88CA-4D36-BFAC-3087EF7D563D}"/>
          </ac:spMkLst>
        </pc:spChg>
      </pc:sldChg>
      <pc:sldChg chg="modSp">
        <pc:chgData name="Mary Lisa Newman" userId="9c8cba21-67a1-4aa9-98ba-c4ca1eda0aa0" providerId="ADAL" clId="{AD395003-C839-4732-8526-C579A15FF224}" dt="2020-07-01T23:38:34.896" v="1" actId="13926"/>
        <pc:sldMkLst>
          <pc:docMk/>
          <pc:sldMk cId="1293303930" sldId="303"/>
        </pc:sldMkLst>
        <pc:spChg chg="mod">
          <ac:chgData name="Mary Lisa Newman" userId="9c8cba21-67a1-4aa9-98ba-c4ca1eda0aa0" providerId="ADAL" clId="{AD395003-C839-4732-8526-C579A15FF224}" dt="2020-07-01T23:38:31.493" v="0" actId="13926"/>
          <ac:spMkLst>
            <pc:docMk/>
            <pc:sldMk cId="1293303930" sldId="303"/>
            <ac:spMk id="152" creationId="{A8F8188B-A905-4340-8D87-5124E4DC6736}"/>
          </ac:spMkLst>
        </pc:spChg>
        <pc:spChg chg="mod">
          <ac:chgData name="Mary Lisa Newman" userId="9c8cba21-67a1-4aa9-98ba-c4ca1eda0aa0" providerId="ADAL" clId="{AD395003-C839-4732-8526-C579A15FF224}" dt="2020-07-01T23:38:34.896" v="1" actId="13926"/>
          <ac:spMkLst>
            <pc:docMk/>
            <pc:sldMk cId="1293303930" sldId="303"/>
            <ac:spMk id="157" creationId="{45B91D4E-E13C-4A35-A02A-811B7AAC5393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355F37-7DDC-6140-9FF6-A980F3E2147B}" type="datetimeFigureOut">
              <a:rPr lang="en-US" smtClean="0"/>
              <a:pPr/>
              <a:t>7/29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829967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752923B-E6FB-6444-954F-272993D2763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47724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0E81C1-76EA-4EF4-ACA2-61548F7B8B75}" type="datetimeFigureOut">
              <a:rPr lang="en-US" smtClean="0"/>
              <a:pPr/>
              <a:t>7/29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413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73575"/>
            <a:ext cx="548640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2971800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29675"/>
            <a:ext cx="2971800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C602C3-C79E-43EB-A789-D085B69768A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25827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6170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0850" algn="l" defTabSz="76170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61701" algn="l" defTabSz="76170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42551" algn="l" defTabSz="76170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23400" algn="l" defTabSz="76170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04251" algn="l" defTabSz="76170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285101" algn="l" defTabSz="76170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665951" algn="l" defTabSz="76170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046802" algn="l" defTabSz="76170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413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602C3-C79E-43EB-A789-D085B69768A4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3373763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413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602C3-C79E-43EB-A789-D085B69768A4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940027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46FF6BE-A181-46A5-AA67-BD7BF89EF264}"/>
              </a:ext>
            </a:extLst>
          </p:cNvPr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rgbClr val="F2F2F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8455" tIns="126764" rIns="158455" bIns="12676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079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32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" name="Picture 1" descr="A picture containing drawing&#10;&#10;Description automatically generated">
            <a:extLst>
              <a:ext uri="{FF2B5EF4-FFF2-40B4-BE49-F238E27FC236}">
                <a16:creationId xmlns:a16="http://schemas.microsoft.com/office/drawing/2014/main" id="{5460CFFB-C290-46FF-A57C-C1A4AB7599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47142" y="223839"/>
            <a:ext cx="1519072" cy="68103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FC99979-50E5-445F-B922-79C4CA21C07D}"/>
              </a:ext>
            </a:extLst>
          </p:cNvPr>
          <p:cNvSpPr/>
          <p:nvPr userDrawn="1"/>
        </p:nvSpPr>
        <p:spPr bwMode="auto">
          <a:xfrm>
            <a:off x="274567" y="296863"/>
            <a:ext cx="1519072" cy="608012"/>
          </a:xfrm>
          <a:prstGeom prst="rect">
            <a:avLst/>
          </a:prstGeom>
          <a:solidFill>
            <a:srgbClr val="F2F2F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146266" rIns="182832" bIns="1462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9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465140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183795" y="3012500"/>
            <a:ext cx="6858623" cy="833001"/>
          </a:xfrm>
          <a:prstGeom prst="rect">
            <a:avLst/>
          </a:prstGeom>
        </p:spPr>
      </p:pic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AC841C73-85C4-485F-8F62-4B766EFE9AE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19956" y="223839"/>
            <a:ext cx="1519072" cy="681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50778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</p:sldLayoutIdLst>
  <p:transition>
    <p:fade/>
  </p:transition>
  <p:hf sldNum="0" hdr="0" ftr="0" dt="0"/>
  <p:txStyles>
    <p:titleStyle>
      <a:lvl1pPr algn="l" defTabSz="913918" rtl="0" eaLnBrk="1" latinLnBrk="0" hangingPunct="1">
        <a:lnSpc>
          <a:spcPct val="90000"/>
        </a:lnSpc>
        <a:spcBef>
          <a:spcPct val="0"/>
        </a:spcBef>
        <a:buNone/>
        <a:defRPr lang="en-US" sz="3599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0" marR="0" indent="0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2352" b="0" i="0" kern="120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223987" marR="0" indent="0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764" b="0" i="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447973" marR="0" indent="0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567" b="0" i="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671959" marR="0" indent="0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567" b="0" i="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895945" marR="0" indent="0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567" b="0" i="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3272" indent="-228479" algn="l" defTabSz="913918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70232" indent="-228479" algn="l" defTabSz="913918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427191" indent="-228479" algn="l" defTabSz="913918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84149" indent="-228479" algn="l" defTabSz="913918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56958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913918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70876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827834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84793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741752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98710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655670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40">
          <p15:clr>
            <a:srgbClr val="C35EA4"/>
          </p15:clr>
        </p15:guide>
        <p15:guide id="17" pos="7440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  <p15:guide id="27" pos="3917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13" Type="http://schemas.openxmlformats.org/officeDocument/2006/relationships/image" Target="../media/image10.png"/><Relationship Id="rId18" Type="http://schemas.openxmlformats.org/officeDocument/2006/relationships/image" Target="../media/image15.emf"/><Relationship Id="rId3" Type="http://schemas.openxmlformats.org/officeDocument/2006/relationships/tags" Target="../tags/tag4.xml"/><Relationship Id="rId7" Type="http://schemas.openxmlformats.org/officeDocument/2006/relationships/image" Target="../media/image3.emf"/><Relationship Id="rId12" Type="http://schemas.openxmlformats.org/officeDocument/2006/relationships/image" Target="../media/image9.emf"/><Relationship Id="rId17" Type="http://schemas.openxmlformats.org/officeDocument/2006/relationships/image" Target="../media/image14.emf"/><Relationship Id="rId2" Type="http://schemas.openxmlformats.org/officeDocument/2006/relationships/tags" Target="../tags/tag3.xml"/><Relationship Id="rId16" Type="http://schemas.openxmlformats.org/officeDocument/2006/relationships/image" Target="../media/image13.emf"/><Relationship Id="rId20" Type="http://schemas.openxmlformats.org/officeDocument/2006/relationships/image" Target="../media/image4.png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8.svg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12.emf"/><Relationship Id="rId10" Type="http://schemas.openxmlformats.org/officeDocument/2006/relationships/image" Target="../media/image7.png"/><Relationship Id="rId19" Type="http://schemas.openxmlformats.org/officeDocument/2006/relationships/image" Target="../media/image16.emf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6.emf"/><Relationship Id="rId1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Rectangle 162">
            <a:extLst>
              <a:ext uri="{FF2B5EF4-FFF2-40B4-BE49-F238E27FC236}">
                <a16:creationId xmlns:a16="http://schemas.microsoft.com/office/drawing/2014/main" id="{5DFD7C1A-A5DC-4352-82FC-A5AF631FD377}"/>
              </a:ext>
            </a:extLst>
          </p:cNvPr>
          <p:cNvSpPr/>
          <p:nvPr/>
        </p:nvSpPr>
        <p:spPr bwMode="auto">
          <a:xfrm>
            <a:off x="4213300" y="4296510"/>
            <a:ext cx="2764463" cy="1857266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mx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C120E214-35EB-4B5C-A105-C4BFC0B193C5}"/>
              </a:ext>
            </a:extLst>
          </p:cNvPr>
          <p:cNvSpPr/>
          <p:nvPr/>
        </p:nvSpPr>
        <p:spPr bwMode="auto">
          <a:xfrm>
            <a:off x="590285" y="4296510"/>
            <a:ext cx="2764463" cy="1857266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mx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7941680F-FB9A-45DE-AFB7-631D916AC857}"/>
              </a:ext>
            </a:extLst>
          </p:cNvPr>
          <p:cNvSpPr/>
          <p:nvPr/>
        </p:nvSpPr>
        <p:spPr bwMode="auto">
          <a:xfrm>
            <a:off x="4193863" y="2213832"/>
            <a:ext cx="2764463" cy="1857266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mx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BA753CF-E23D-4D51-A7AE-F94A4A18B975}"/>
              </a:ext>
            </a:extLst>
          </p:cNvPr>
          <p:cNvSpPr/>
          <p:nvPr/>
        </p:nvSpPr>
        <p:spPr bwMode="auto">
          <a:xfrm>
            <a:off x="577516" y="2233471"/>
            <a:ext cx="2764463" cy="1857266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mx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1A249D2-9EE3-4037-99F5-C405D51E02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446503" y="1977"/>
          <a:ext cx="1082" cy="10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1A249D2-9EE3-4037-99F5-C405D51E021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446503" y="1977"/>
                        <a:ext cx="1082" cy="108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92EFB6BD-A7D8-473E-8CD3-E8D8B5EE782F}"/>
              </a:ext>
            </a:extLst>
          </p:cNvPr>
          <p:cNvSpPr/>
          <p:nvPr/>
        </p:nvSpPr>
        <p:spPr>
          <a:xfrm>
            <a:off x="386748" y="292404"/>
            <a:ext cx="8965482" cy="6636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rtl="0"/>
            <a:r>
              <a:rPr lang="es-mx" sz="3600" b="0" i="0" u="none" baseline="0" dirty="0">
                <a:solidFill>
                  <a:schemeClr val="accent1"/>
                </a:solidFill>
                <a:latin typeface="+mj-lt"/>
              </a:rPr>
              <a:t>Fortalezca sus datos </a:t>
            </a:r>
            <a:r>
              <a:rPr lang="es-mx" sz="3600" b="0" i="0" u="none" baseline="0" dirty="0">
                <a:latin typeface="+mj-lt"/>
              </a:rPr>
              <a:t>contra las amenazas</a:t>
            </a:r>
          </a:p>
        </p:txBody>
      </p:sp>
      <p:pic>
        <p:nvPicPr>
          <p:cNvPr id="154" name="Graphic 32">
            <a:extLst>
              <a:ext uri="{FF2B5EF4-FFF2-40B4-BE49-F238E27FC236}">
                <a16:creationId xmlns:a16="http://schemas.microsoft.com/office/drawing/2014/main" id="{7317877B-C1CF-440B-AB82-E37457B5798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411755" y="457967"/>
            <a:ext cx="3711292" cy="8075827"/>
          </a:xfrm>
          <a:prstGeom prst="rect">
            <a:avLst/>
          </a:prstGeom>
        </p:spPr>
      </p:pic>
      <p:sp>
        <p:nvSpPr>
          <p:cNvPr id="152" name="Rectangle 151">
            <a:extLst>
              <a:ext uri="{FF2B5EF4-FFF2-40B4-BE49-F238E27FC236}">
                <a16:creationId xmlns:a16="http://schemas.microsoft.com/office/drawing/2014/main" id="{A8F8188B-A905-4340-8D87-5124E4DC6736}"/>
              </a:ext>
            </a:extLst>
          </p:cNvPr>
          <p:cNvSpPr/>
          <p:nvPr/>
        </p:nvSpPr>
        <p:spPr>
          <a:xfrm>
            <a:off x="477510" y="959052"/>
            <a:ext cx="7299270" cy="86177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lvl="0" algn="l" defTabSz="914400" rtl="0" fontAlgn="base">
              <a:spcBef>
                <a:spcPct val="0"/>
              </a:spcBef>
              <a:spcAft>
                <a:spcPct val="0"/>
              </a:spcAft>
            </a:pPr>
            <a:r>
              <a:rPr lang="es-mx" sz="2800" b="0" i="0" u="none" baseline="0" dirty="0">
                <a:ea typeface="ÉqÉâÉMÉmäpÉS Pro W3"/>
              </a:rPr>
              <a:t>Volúmenes inigualables de datos informan a las soluciones de seguridad de Microsoft</a:t>
            </a:r>
            <a:endParaRPr lang="es-mx" sz="1200" noProof="1">
              <a:ea typeface="ÉqÉâÉMÉmäpÉS Pro W3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3A7EFD4-D6DC-428D-B915-4802AAC8608E}"/>
              </a:ext>
            </a:extLst>
          </p:cNvPr>
          <p:cNvSpPr txBox="1"/>
          <p:nvPr/>
        </p:nvSpPr>
        <p:spPr>
          <a:xfrm>
            <a:off x="594175" y="2260730"/>
            <a:ext cx="2728467" cy="112646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 rtl="0">
              <a:lnSpc>
                <a:spcPct val="90000"/>
              </a:lnSpc>
              <a:spcAft>
                <a:spcPts val="600"/>
              </a:spcAft>
            </a:pPr>
            <a:r>
              <a:rPr lang="es-mx" sz="3200" b="0" i="0" u="none" baseline="0" dirty="0">
                <a:solidFill>
                  <a:schemeClr val="accent1"/>
                </a:solidFill>
              </a:rPr>
              <a:t>&gt; 18,000 </a:t>
            </a:r>
            <a:br>
              <a:rPr lang="th-TH" sz="3200" b="0" i="0" u="none" baseline="0" dirty="0">
                <a:solidFill>
                  <a:schemeClr val="accent1"/>
                </a:solidFill>
              </a:rPr>
            </a:br>
            <a:r>
              <a:rPr lang="es-mx" sz="2800" b="0" i="0" u="none" baseline="0" dirty="0">
                <a:solidFill>
                  <a:schemeClr val="accent1"/>
                </a:solidFill>
              </a:rPr>
              <a:t>millones</a:t>
            </a:r>
            <a:endParaRPr lang="es-mx" sz="3200" b="0" i="0" u="none" baseline="0" dirty="0">
              <a:solidFill>
                <a:schemeClr val="accent1"/>
              </a:solidFill>
            </a:endParaRP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4F4F16B7-CA2B-48D6-B40F-F43A18A513F1}"/>
              </a:ext>
            </a:extLst>
          </p:cNvPr>
          <p:cNvSpPr txBox="1"/>
          <p:nvPr/>
        </p:nvSpPr>
        <p:spPr>
          <a:xfrm>
            <a:off x="4210522" y="2316298"/>
            <a:ext cx="2728467" cy="118186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 rtl="0">
              <a:lnSpc>
                <a:spcPct val="90000"/>
              </a:lnSpc>
              <a:spcAft>
                <a:spcPts val="600"/>
              </a:spcAft>
            </a:pPr>
            <a:r>
              <a:rPr lang="es-mx" sz="3200" b="0" i="0" u="none" baseline="0" dirty="0">
                <a:solidFill>
                  <a:schemeClr val="accent1"/>
                </a:solidFill>
              </a:rPr>
              <a:t>450,000 millones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C620020C-6962-4CE0-BCF2-D75641DFE9E1}"/>
              </a:ext>
            </a:extLst>
          </p:cNvPr>
          <p:cNvSpPr txBox="1"/>
          <p:nvPr/>
        </p:nvSpPr>
        <p:spPr>
          <a:xfrm>
            <a:off x="4578715" y="4473222"/>
            <a:ext cx="1885464" cy="8494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 rtl="0">
              <a:lnSpc>
                <a:spcPct val="90000"/>
              </a:lnSpc>
              <a:spcAft>
                <a:spcPts val="600"/>
              </a:spcAft>
            </a:pPr>
            <a:r>
              <a:rPr lang="es-mx" sz="4000" b="0" i="0" u="none" baseline="0" dirty="0">
                <a:solidFill>
                  <a:schemeClr val="accent1"/>
                </a:solidFill>
              </a:rPr>
              <a:t>&gt; 200</a:t>
            </a: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7A41545C-9F51-4BE7-831E-D328F60FF46A}"/>
              </a:ext>
            </a:extLst>
          </p:cNvPr>
          <p:cNvSpPr txBox="1"/>
          <p:nvPr/>
        </p:nvSpPr>
        <p:spPr>
          <a:xfrm>
            <a:off x="698438" y="4307450"/>
            <a:ext cx="2568628" cy="118186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 rtl="0">
              <a:lnSpc>
                <a:spcPct val="90000"/>
              </a:lnSpc>
              <a:spcAft>
                <a:spcPts val="600"/>
              </a:spcAft>
            </a:pPr>
            <a:r>
              <a:rPr lang="es-mx" sz="3200" b="0" i="0" u="none" baseline="0" dirty="0">
                <a:solidFill>
                  <a:schemeClr val="accent1"/>
                </a:solidFill>
              </a:rPr>
              <a:t>400,000 </a:t>
            </a:r>
            <a:br>
              <a:rPr lang="th-TH" sz="3200" b="0" i="0" u="none" baseline="0" dirty="0">
                <a:solidFill>
                  <a:schemeClr val="accent1"/>
                </a:solidFill>
              </a:rPr>
            </a:br>
            <a:r>
              <a:rPr lang="es-mx" sz="3200" b="0" i="0" u="none" baseline="0" dirty="0">
                <a:solidFill>
                  <a:schemeClr val="accent1"/>
                </a:solidFill>
              </a:rPr>
              <a:t>millones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45B91D4E-E13C-4A35-A02A-811B7AAC5393}"/>
              </a:ext>
            </a:extLst>
          </p:cNvPr>
          <p:cNvSpPr txBox="1"/>
          <p:nvPr/>
        </p:nvSpPr>
        <p:spPr>
          <a:xfrm>
            <a:off x="684705" y="3108057"/>
            <a:ext cx="2568628" cy="960263"/>
          </a:xfrm>
          <a:prstGeom prst="rect">
            <a:avLst/>
          </a:prstGeom>
          <a:noFill/>
        </p:spPr>
        <p:txBody>
          <a:bodyPr wrap="square" lIns="182880" tIns="146304" rIns="182880" bIns="146304" rtlCol="0" anchor="t">
            <a:spAutoFit/>
          </a:bodyPr>
          <a:lstStyle/>
          <a:p>
            <a:pPr algn="ctr" rtl="0">
              <a:lnSpc>
                <a:spcPct val="90000"/>
              </a:lnSpc>
              <a:spcAft>
                <a:spcPts val="600"/>
              </a:spcAft>
            </a:pPr>
            <a:r>
              <a:rPr lang="es-mx" sz="1600" b="0" i="0" u="none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e exámenes de páginas web al mes por </a:t>
            </a:r>
            <a:br>
              <a:rPr lang="th-TH" sz="1600" b="0" i="0" u="none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</a:br>
            <a:r>
              <a:rPr lang="es-mx" sz="1600" b="0" i="0" u="none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arte de Bing</a:t>
            </a:r>
            <a:endParaRPr lang="es-mx" sz="1600" b="0" i="0" u="none" baseline="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cs typeface="Segoe UI"/>
            </a:endParaRP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3DBEA614-D948-4540-9D7F-2CB3B8CDD78B}"/>
              </a:ext>
            </a:extLst>
          </p:cNvPr>
          <p:cNvSpPr txBox="1"/>
          <p:nvPr/>
        </p:nvSpPr>
        <p:spPr>
          <a:xfrm>
            <a:off x="4265056" y="3217234"/>
            <a:ext cx="2588653" cy="7386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 rtl="0">
              <a:lnSpc>
                <a:spcPct val="90000"/>
              </a:lnSpc>
              <a:spcAft>
                <a:spcPts val="600"/>
              </a:spcAft>
            </a:pPr>
            <a:r>
              <a:rPr lang="es-mx" sz="1600" b="0" i="0" u="none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e autenticaciones procesadas cada mes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A7576F0F-ED8E-4FAD-ACD2-5A4C628ED8B4}"/>
              </a:ext>
            </a:extLst>
          </p:cNvPr>
          <p:cNvSpPr txBox="1"/>
          <p:nvPr/>
        </p:nvSpPr>
        <p:spPr>
          <a:xfrm>
            <a:off x="527089" y="5190463"/>
            <a:ext cx="2764463" cy="9602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s-MX" sz="16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e correos</a:t>
            </a:r>
            <a:r>
              <a:rPr lang="es-mx" sz="1600" b="0" i="0" u="none" baseline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</a:t>
            </a:r>
            <a:r>
              <a:rPr lang="es-mx" sz="1600" b="0" i="0" u="none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lectrónicos examinados para detectar phishing y malware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63F580A4-CAB8-455F-9BF3-69BA8560737B}"/>
              </a:ext>
            </a:extLst>
          </p:cNvPr>
          <p:cNvSpPr txBox="1"/>
          <p:nvPr/>
        </p:nvSpPr>
        <p:spPr>
          <a:xfrm>
            <a:off x="4255892" y="5158062"/>
            <a:ext cx="2643106" cy="7386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 rtl="0">
              <a:lnSpc>
                <a:spcPct val="90000"/>
              </a:lnSpc>
              <a:spcAft>
                <a:spcPts val="600"/>
              </a:spcAft>
            </a:pPr>
            <a:r>
              <a:rPr lang="es-mx" sz="1600" b="0" i="0" u="none" baseline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ervicios en la nube supervisados para evitar riesgos de seguridad</a:t>
            </a:r>
          </a:p>
        </p:txBody>
      </p:sp>
    </p:spTree>
    <p:extLst>
      <p:ext uri="{BB962C8B-B14F-4D97-AF65-F5344CB8AC3E}">
        <p14:creationId xmlns:p14="http://schemas.microsoft.com/office/powerpoint/2010/main" val="129330393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1A249D2-9EE3-4037-99F5-C405D51E021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3446503" y="1977"/>
          <a:ext cx="1082" cy="10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1A249D2-9EE3-4037-99F5-C405D51E021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446503" y="1977"/>
                        <a:ext cx="1082" cy="108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TextBox 54">
            <a:extLst>
              <a:ext uri="{FF2B5EF4-FFF2-40B4-BE49-F238E27FC236}">
                <a16:creationId xmlns:a16="http://schemas.microsoft.com/office/drawing/2014/main" id="{FF5CCB37-CB5B-47BF-873E-A735A5D4EC14}"/>
              </a:ext>
            </a:extLst>
          </p:cNvPr>
          <p:cNvSpPr txBox="1"/>
          <p:nvPr/>
        </p:nvSpPr>
        <p:spPr>
          <a:xfrm>
            <a:off x="682152" y="1722288"/>
            <a:ext cx="1491307" cy="21544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defPPr>
              <a:defRPr lang="es-mx"/>
            </a:defPPr>
            <a:lvl1pPr algn="ctr">
              <a:defRPr sz="20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rtl="0"/>
            <a:r>
              <a:rPr lang="es-mx" sz="1400" b="0" i="0" u="none" baseline="0" dirty="0">
                <a:solidFill>
                  <a:schemeClr val="accent1"/>
                </a:solidFill>
                <a:latin typeface="+mj-lt"/>
                <a:cs typeface="Segoe UI Light"/>
              </a:rPr>
              <a:t>Microsoft 365 ATP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C2A0A421-8784-48FF-9CFC-408E3445EAAA}"/>
              </a:ext>
            </a:extLst>
          </p:cNvPr>
          <p:cNvSpPr txBox="1"/>
          <p:nvPr/>
        </p:nvSpPr>
        <p:spPr>
          <a:xfrm>
            <a:off x="2604954" y="1722288"/>
            <a:ext cx="2334550" cy="21544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defPPr>
              <a:defRPr lang="es-mx"/>
            </a:defPPr>
            <a:lvl1pPr algn="ctr">
              <a:defRPr sz="20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rtl="0"/>
            <a:r>
              <a:rPr lang="es-mx" sz="1400" b="0" i="0" u="none" baseline="0" dirty="0">
                <a:latin typeface="+mj-lt"/>
                <a:cs typeface="Segoe UI Light"/>
              </a:rPr>
              <a:t>Azure AD </a:t>
            </a:r>
            <a:r>
              <a:rPr lang="es-mx" sz="1400" b="0" i="0" u="none" baseline="0" dirty="0" err="1">
                <a:latin typeface="+mj-lt"/>
                <a:cs typeface="Segoe UI Light"/>
              </a:rPr>
              <a:t>Identity</a:t>
            </a:r>
            <a:r>
              <a:rPr lang="es-mx" sz="1400" b="0" i="0" u="none" baseline="0" dirty="0">
                <a:latin typeface="+mj-lt"/>
                <a:cs typeface="Segoe UI Light"/>
              </a:rPr>
              <a:t> </a:t>
            </a:r>
            <a:r>
              <a:rPr lang="es-mx" sz="1400" b="0" i="0" u="none" baseline="0" dirty="0" err="1">
                <a:latin typeface="+mj-lt"/>
                <a:cs typeface="Segoe UI Light"/>
              </a:rPr>
              <a:t>Protection</a:t>
            </a:r>
            <a:endParaRPr lang="es-mx" sz="1400" b="0" i="0" u="none" baseline="0" dirty="0">
              <a:latin typeface="+mj-lt"/>
              <a:cs typeface="Segoe UI Light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EB76A3EE-AC96-4ADA-83AB-47A31C34FB73}"/>
              </a:ext>
            </a:extLst>
          </p:cNvPr>
          <p:cNvSpPr txBox="1"/>
          <p:nvPr/>
        </p:nvSpPr>
        <p:spPr>
          <a:xfrm>
            <a:off x="5889658" y="1722288"/>
            <a:ext cx="1562928" cy="21544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defPPr>
              <a:defRPr lang="es-mx"/>
            </a:defPPr>
            <a:lvl1pPr algn="ctr">
              <a:defRPr sz="20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rtl="0"/>
            <a:r>
              <a:rPr lang="es-mx" sz="1400" b="0" i="0" u="none" baseline="0" dirty="0">
                <a:solidFill>
                  <a:schemeClr val="accent1"/>
                </a:solidFill>
                <a:latin typeface="+mj-lt"/>
                <a:cs typeface="Segoe UI Light"/>
              </a:rPr>
              <a:t>Cloud App Security</a:t>
            </a: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D7A0994E-F5CE-4284-A85A-FC2796A382AF}"/>
              </a:ext>
            </a:extLst>
          </p:cNvPr>
          <p:cNvCxnSpPr>
            <a:cxnSpLocks/>
          </p:cNvCxnSpPr>
          <p:nvPr/>
        </p:nvCxnSpPr>
        <p:spPr>
          <a:xfrm flipH="1">
            <a:off x="598650" y="2003790"/>
            <a:ext cx="1658304" cy="0"/>
          </a:xfrm>
          <a:prstGeom prst="line">
            <a:avLst/>
          </a:prstGeom>
          <a:ln w="952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5">
            <a:extLst>
              <a:ext uri="{FF2B5EF4-FFF2-40B4-BE49-F238E27FC236}">
                <a16:creationId xmlns:a16="http://schemas.microsoft.com/office/drawing/2014/main" id="{3877753C-D947-43AB-B654-245681453032}"/>
              </a:ext>
            </a:extLst>
          </p:cNvPr>
          <p:cNvSpPr txBox="1"/>
          <p:nvPr/>
        </p:nvSpPr>
        <p:spPr>
          <a:xfrm>
            <a:off x="571452" y="2799053"/>
            <a:ext cx="732883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s-mx" sz="1000" b="0" i="0" u="none" baseline="0"/>
              <a:t>Correo phishing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9440CCD1-391D-42CF-B231-8D1BB73BCF93}"/>
              </a:ext>
            </a:extLst>
          </p:cNvPr>
          <p:cNvSpPr txBox="1"/>
          <p:nvPr/>
        </p:nvSpPr>
        <p:spPr>
          <a:xfrm>
            <a:off x="1572488" y="2799053"/>
            <a:ext cx="66992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s-mx" sz="1000" b="0" i="0" u="none" baseline="0"/>
              <a:t>Abre archivos adjuntos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742615A3-9FAF-4F0F-A134-36BED6AFBD12}"/>
              </a:ext>
            </a:extLst>
          </p:cNvPr>
          <p:cNvSpPr txBox="1"/>
          <p:nvPr/>
        </p:nvSpPr>
        <p:spPr>
          <a:xfrm>
            <a:off x="2512271" y="2799053"/>
            <a:ext cx="137788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s-mx" sz="1000" b="0" i="0" u="none" baseline="0"/>
              <a:t>Cuenta con ataque de fuerza bruta/uso de credenciales robadas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57A31843-186F-468F-AB49-0B3D8A258560}"/>
              </a:ext>
            </a:extLst>
          </p:cNvPr>
          <p:cNvSpPr txBox="1"/>
          <p:nvPr/>
        </p:nvSpPr>
        <p:spPr>
          <a:xfrm>
            <a:off x="5871872" y="2322759"/>
            <a:ext cx="113128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es-mx" sz="1000" b="0" i="0" u="none" baseline="0"/>
              <a:t>Accede a los datos en aplicaciones en la nube y los manipula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C6AF7D4E-0E61-4BFC-9D03-EB2DC421222F}"/>
              </a:ext>
            </a:extLst>
          </p:cNvPr>
          <p:cNvSpPr txBox="1"/>
          <p:nvPr/>
        </p:nvSpPr>
        <p:spPr>
          <a:xfrm>
            <a:off x="7345122" y="2799053"/>
            <a:ext cx="60723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s-mx" sz="1000" b="0" i="0" u="none" baseline="0" dirty="0"/>
              <a:t>Filtra </a:t>
            </a:r>
            <a:br>
              <a:rPr lang="th-TH" sz="1000" b="0" i="0" u="none" baseline="0" dirty="0"/>
            </a:br>
            <a:r>
              <a:rPr lang="es-mx" sz="1000" b="0" i="0" u="none" baseline="0" dirty="0"/>
              <a:t>los datos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B57DF866-57BA-47C1-923A-F8E22F7599C9}"/>
              </a:ext>
            </a:extLst>
          </p:cNvPr>
          <p:cNvSpPr txBox="1"/>
          <p:nvPr/>
        </p:nvSpPr>
        <p:spPr>
          <a:xfrm>
            <a:off x="6065546" y="3436627"/>
            <a:ext cx="85153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es-mx" sz="1000" b="0" i="0" u="none" baseline="0" dirty="0"/>
              <a:t>Acceso a datos confidenciales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EBFC66DA-76C2-4737-95B9-AD5717B4D35B}"/>
              </a:ext>
            </a:extLst>
          </p:cNvPr>
          <p:cNvSpPr txBox="1"/>
          <p:nvPr/>
        </p:nvSpPr>
        <p:spPr>
          <a:xfrm>
            <a:off x="1946233" y="4710774"/>
            <a:ext cx="862694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s-mx" sz="1000" b="0" i="0" u="none" baseline="0" dirty="0"/>
              <a:t>Vulnerabilidad de seguridad e instalación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FDE1C2F3-989E-4948-86C2-479567A25091}"/>
              </a:ext>
            </a:extLst>
          </p:cNvPr>
          <p:cNvSpPr txBox="1"/>
          <p:nvPr/>
        </p:nvSpPr>
        <p:spPr>
          <a:xfrm>
            <a:off x="397722" y="4729831"/>
            <a:ext cx="1087899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s-mx" sz="1000" b="0" i="0" u="none" baseline="0" dirty="0"/>
              <a:t>Navegador del usuario a un </a:t>
            </a:r>
            <a:br>
              <a:rPr lang="th-TH" sz="1000" b="0" i="0" u="none" baseline="0" dirty="0"/>
            </a:br>
            <a:r>
              <a:rPr lang="es-mx" sz="1000" b="0" i="0" u="none" baseline="0" dirty="0"/>
              <a:t>sitio web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47583943-E3EA-44F7-8CEE-EA354353F29B}"/>
              </a:ext>
            </a:extLst>
          </p:cNvPr>
          <p:cNvSpPr txBox="1"/>
          <p:nvPr/>
        </p:nvSpPr>
        <p:spPr>
          <a:xfrm>
            <a:off x="3945698" y="4710774"/>
            <a:ext cx="1087899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s-mx" sz="1000" b="0" i="0" u="none" baseline="0" dirty="0"/>
              <a:t>Asignación de cuentas/</a:t>
            </a:r>
            <a:br>
              <a:rPr lang="th-TH" sz="1000" b="0" i="0" u="none" baseline="0" dirty="0"/>
            </a:br>
            <a:r>
              <a:rPr lang="es-mx" sz="1000" b="0" i="0" u="none" baseline="0" dirty="0"/>
              <a:t>recursos de red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375467D7-9758-46F7-B28F-40BD3EBE7AC4}"/>
              </a:ext>
            </a:extLst>
          </p:cNvPr>
          <p:cNvSpPr txBox="1"/>
          <p:nvPr/>
        </p:nvSpPr>
        <p:spPr>
          <a:xfrm>
            <a:off x="3059861" y="4710774"/>
            <a:ext cx="76602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s-mx" sz="1000" b="0" i="0" u="none" baseline="0" dirty="0"/>
              <a:t>Mando y control 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CB75C626-7C5F-4419-879D-23550D86FEB5}"/>
              </a:ext>
            </a:extLst>
          </p:cNvPr>
          <p:cNvSpPr txBox="1"/>
          <p:nvPr/>
        </p:nvSpPr>
        <p:spPr>
          <a:xfrm>
            <a:off x="5136465" y="4710774"/>
            <a:ext cx="79723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s-mx" sz="1000" b="0" i="0" u="none" baseline="0"/>
              <a:t>Movimiento lateral 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5974715D-49E3-4DB4-881F-51F1641F7651}"/>
              </a:ext>
            </a:extLst>
          </p:cNvPr>
          <p:cNvSpPr txBox="1"/>
          <p:nvPr/>
        </p:nvSpPr>
        <p:spPr>
          <a:xfrm>
            <a:off x="6038252" y="4710774"/>
            <a:ext cx="1087899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s-mx" sz="1000" b="0" i="0" u="none" baseline="0" dirty="0"/>
              <a:t>Cuenta </a:t>
            </a:r>
            <a:br>
              <a:rPr lang="th-TH" sz="1000" b="0" i="0" u="none" baseline="0" dirty="0"/>
            </a:br>
            <a:r>
              <a:rPr lang="es-mx" sz="1000" b="0" i="0" u="none" baseline="0" dirty="0"/>
              <a:t>privilegiada </a:t>
            </a:r>
            <a:br>
              <a:rPr lang="th-TH" sz="1000" b="0" i="0" u="none" baseline="0" dirty="0"/>
            </a:br>
            <a:r>
              <a:rPr lang="es-mx" sz="1000" b="0" i="0" u="none" baseline="0" dirty="0"/>
              <a:t>en peligro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0C1A140D-C276-4676-B698-D3799DFD731B}"/>
              </a:ext>
            </a:extLst>
          </p:cNvPr>
          <p:cNvSpPr txBox="1"/>
          <p:nvPr/>
        </p:nvSpPr>
        <p:spPr>
          <a:xfrm>
            <a:off x="7192046" y="4710774"/>
            <a:ext cx="86269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s-mx" sz="1000" b="0" i="0" u="none" baseline="0" dirty="0">
                <a:latin typeface="+mj-lt"/>
              </a:rPr>
              <a:t>Dominio </a:t>
            </a:r>
            <a:br>
              <a:rPr lang="th-TH" sz="1000" b="0" i="0" u="none" baseline="0" dirty="0">
                <a:latin typeface="+mj-lt"/>
              </a:rPr>
            </a:br>
            <a:r>
              <a:rPr lang="es-mx" sz="1000" b="0" i="0" u="none" baseline="0" dirty="0">
                <a:latin typeface="+mj-lt"/>
              </a:rPr>
              <a:t>en peligro</a:t>
            </a:r>
          </a:p>
        </p:txBody>
      </p: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613ED603-A273-4302-85B2-296AA451700E}"/>
              </a:ext>
            </a:extLst>
          </p:cNvPr>
          <p:cNvCxnSpPr>
            <a:cxnSpLocks/>
          </p:cNvCxnSpPr>
          <p:nvPr/>
        </p:nvCxnSpPr>
        <p:spPr>
          <a:xfrm flipV="1">
            <a:off x="1270376" y="4411922"/>
            <a:ext cx="457200" cy="2168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877535BC-ED7E-4188-9A17-9A738DDC1EFB}"/>
              </a:ext>
            </a:extLst>
          </p:cNvPr>
          <p:cNvCxnSpPr>
            <a:cxnSpLocks/>
          </p:cNvCxnSpPr>
          <p:nvPr/>
        </p:nvCxnSpPr>
        <p:spPr>
          <a:xfrm flipV="1">
            <a:off x="2688682" y="4411922"/>
            <a:ext cx="457200" cy="2168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80">
            <a:extLst>
              <a:ext uri="{FF2B5EF4-FFF2-40B4-BE49-F238E27FC236}">
                <a16:creationId xmlns:a16="http://schemas.microsoft.com/office/drawing/2014/main" id="{9C8FC23C-EAB1-48BB-BE31-15D96A9882EC}"/>
              </a:ext>
            </a:extLst>
          </p:cNvPr>
          <p:cNvCxnSpPr>
            <a:cxnSpLocks/>
          </p:cNvCxnSpPr>
          <p:nvPr/>
        </p:nvCxnSpPr>
        <p:spPr>
          <a:xfrm>
            <a:off x="1270376" y="2465757"/>
            <a:ext cx="342739" cy="0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Box 81">
            <a:extLst>
              <a:ext uri="{FF2B5EF4-FFF2-40B4-BE49-F238E27FC236}">
                <a16:creationId xmlns:a16="http://schemas.microsoft.com/office/drawing/2014/main" id="{3EDDF442-922D-4B72-AE01-D1DA28B3024F}"/>
              </a:ext>
            </a:extLst>
          </p:cNvPr>
          <p:cNvSpPr txBox="1"/>
          <p:nvPr/>
        </p:nvSpPr>
        <p:spPr>
          <a:xfrm>
            <a:off x="1439445" y="5420679"/>
            <a:ext cx="1948162" cy="21544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defPPr>
              <a:defRPr lang="es-mx"/>
            </a:defPPr>
            <a:lvl1pPr algn="ctr">
              <a:defRPr sz="1400">
                <a:solidFill>
                  <a:schemeClr val="accent1"/>
                </a:solidFill>
                <a:latin typeface="+mj-lt"/>
                <a:cs typeface="Segoe UI Light" panose="020B0502040204020203" pitchFamily="34" charset="0"/>
              </a:defRPr>
            </a:lvl1pPr>
          </a:lstStyle>
          <a:p>
            <a:pPr rtl="0"/>
            <a:r>
              <a:rPr lang="es-mx" b="0" i="0" u="none" baseline="0" dirty="0">
                <a:cs typeface="Segoe UI Light"/>
              </a:rPr>
              <a:t>Microsoft Defender ATP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B6B04159-7BA7-4361-8F17-F4C9FA010E61}"/>
              </a:ext>
            </a:extLst>
          </p:cNvPr>
          <p:cNvSpPr txBox="1"/>
          <p:nvPr/>
        </p:nvSpPr>
        <p:spPr>
          <a:xfrm>
            <a:off x="5817704" y="5420679"/>
            <a:ext cx="828881" cy="21544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defPPr>
              <a:defRPr lang="es-mx"/>
            </a:defPPr>
            <a:lvl1pPr algn="ctr">
              <a:defRPr sz="1400">
                <a:solidFill>
                  <a:schemeClr val="accent1"/>
                </a:solidFill>
                <a:latin typeface="+mj-lt"/>
                <a:cs typeface="Segoe UI Light" panose="020B0502040204020203" pitchFamily="34" charset="0"/>
              </a:defRPr>
            </a:lvl1pPr>
          </a:lstStyle>
          <a:p>
            <a:pPr rtl="0"/>
            <a:r>
              <a:rPr lang="es-mx" b="0" i="0" u="none" baseline="0" dirty="0">
                <a:solidFill>
                  <a:schemeClr val="accent2"/>
                </a:solidFill>
                <a:cs typeface="Segoe UI Light"/>
              </a:rPr>
              <a:t>Azure ATP</a:t>
            </a: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934544AA-9B6B-420D-871C-904013A74787}"/>
              </a:ext>
            </a:extLst>
          </p:cNvPr>
          <p:cNvSpPr/>
          <p:nvPr/>
        </p:nvSpPr>
        <p:spPr bwMode="auto">
          <a:xfrm>
            <a:off x="5302776" y="2244341"/>
            <a:ext cx="464612" cy="464612"/>
          </a:xfrm>
          <a:prstGeom prst="ellipse">
            <a:avLst/>
          </a:prstGeom>
          <a:noFill/>
          <a:ln w="6350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rtl="0" fontAlgn="base">
              <a:spcBef>
                <a:spcPct val="0"/>
              </a:spcBef>
              <a:spcAft>
                <a:spcPct val="0"/>
              </a:spcAft>
            </a:pPr>
            <a:endParaRPr lang="es-mx" sz="2000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8A18F480-6146-4F08-ABB9-20B05692D288}"/>
              </a:ext>
            </a:extLst>
          </p:cNvPr>
          <p:cNvCxnSpPr>
            <a:cxnSpLocks/>
          </p:cNvCxnSpPr>
          <p:nvPr/>
        </p:nvCxnSpPr>
        <p:spPr>
          <a:xfrm flipV="1">
            <a:off x="3735802" y="4411922"/>
            <a:ext cx="457200" cy="2168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DFD2459C-F374-4A7F-821F-9CA319BD7BFB}"/>
              </a:ext>
            </a:extLst>
          </p:cNvPr>
          <p:cNvCxnSpPr>
            <a:cxnSpLocks/>
          </p:cNvCxnSpPr>
          <p:nvPr/>
        </p:nvCxnSpPr>
        <p:spPr>
          <a:xfrm flipV="1">
            <a:off x="4782922" y="4411922"/>
            <a:ext cx="457200" cy="2168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Arrow Connector 86">
            <a:extLst>
              <a:ext uri="{FF2B5EF4-FFF2-40B4-BE49-F238E27FC236}">
                <a16:creationId xmlns:a16="http://schemas.microsoft.com/office/drawing/2014/main" id="{270ABC7E-2150-4C1D-906C-95AB5F70BB96}"/>
              </a:ext>
            </a:extLst>
          </p:cNvPr>
          <p:cNvCxnSpPr>
            <a:cxnSpLocks/>
          </p:cNvCxnSpPr>
          <p:nvPr/>
        </p:nvCxnSpPr>
        <p:spPr>
          <a:xfrm flipV="1">
            <a:off x="5830042" y="4411922"/>
            <a:ext cx="457200" cy="2168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3F523A1E-880D-46AC-BB65-C4546DEE58EE}"/>
              </a:ext>
            </a:extLst>
          </p:cNvPr>
          <p:cNvCxnSpPr>
            <a:cxnSpLocks/>
          </p:cNvCxnSpPr>
          <p:nvPr/>
        </p:nvCxnSpPr>
        <p:spPr>
          <a:xfrm flipV="1">
            <a:off x="6877162" y="4411922"/>
            <a:ext cx="457200" cy="2168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Freeform: Shape 88">
            <a:extLst>
              <a:ext uri="{FF2B5EF4-FFF2-40B4-BE49-F238E27FC236}">
                <a16:creationId xmlns:a16="http://schemas.microsoft.com/office/drawing/2014/main" id="{BABF54A5-5F54-4D0C-A9FB-904020F474D0}"/>
              </a:ext>
            </a:extLst>
          </p:cNvPr>
          <p:cNvSpPr/>
          <p:nvPr/>
        </p:nvSpPr>
        <p:spPr bwMode="auto">
          <a:xfrm>
            <a:off x="2210181" y="2465757"/>
            <a:ext cx="200025" cy="1686041"/>
          </a:xfrm>
          <a:custGeom>
            <a:avLst/>
            <a:gdLst>
              <a:gd name="connsiteX0" fmla="*/ 0 w 200025"/>
              <a:gd name="connsiteY0" fmla="*/ 0 h 1271587"/>
              <a:gd name="connsiteX1" fmla="*/ 200025 w 200025"/>
              <a:gd name="connsiteY1" fmla="*/ 0 h 1271587"/>
              <a:gd name="connsiteX2" fmla="*/ 200025 w 200025"/>
              <a:gd name="connsiteY2" fmla="*/ 1271587 h 1271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0025" h="1271587">
                <a:moveTo>
                  <a:pt x="0" y="0"/>
                </a:moveTo>
                <a:lnTo>
                  <a:pt x="200025" y="0"/>
                </a:lnTo>
                <a:lnTo>
                  <a:pt x="200025" y="1271587"/>
                </a:lnTo>
              </a:path>
            </a:pathLst>
          </a:cu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es-mx">
              <a:solidFill>
                <a:schemeClr val="tx1"/>
              </a:solidFill>
            </a:endParaRPr>
          </a:p>
        </p:txBody>
      </p:sp>
      <p:sp>
        <p:nvSpPr>
          <p:cNvPr id="90" name="Freeform: Shape 89">
            <a:extLst>
              <a:ext uri="{FF2B5EF4-FFF2-40B4-BE49-F238E27FC236}">
                <a16:creationId xmlns:a16="http://schemas.microsoft.com/office/drawing/2014/main" id="{BAF67299-9D8E-4A7E-98F1-D15DB357A193}"/>
              </a:ext>
            </a:extLst>
          </p:cNvPr>
          <p:cNvSpPr/>
          <p:nvPr/>
        </p:nvSpPr>
        <p:spPr bwMode="auto">
          <a:xfrm>
            <a:off x="3517889" y="2606158"/>
            <a:ext cx="981468" cy="1545098"/>
          </a:xfrm>
          <a:custGeom>
            <a:avLst/>
            <a:gdLst>
              <a:gd name="connsiteX0" fmla="*/ 0 w 200025"/>
              <a:gd name="connsiteY0" fmla="*/ 0 h 1271587"/>
              <a:gd name="connsiteX1" fmla="*/ 200025 w 200025"/>
              <a:gd name="connsiteY1" fmla="*/ 0 h 1271587"/>
              <a:gd name="connsiteX2" fmla="*/ 200025 w 200025"/>
              <a:gd name="connsiteY2" fmla="*/ 1271587 h 1271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0025" h="1271587">
                <a:moveTo>
                  <a:pt x="0" y="0"/>
                </a:moveTo>
                <a:lnTo>
                  <a:pt x="200025" y="0"/>
                </a:lnTo>
                <a:lnTo>
                  <a:pt x="200025" y="1271587"/>
                </a:lnTo>
              </a:path>
            </a:pathLst>
          </a:cu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es-mx">
              <a:solidFill>
                <a:schemeClr val="tx1"/>
              </a:solidFill>
            </a:endParaRPr>
          </a:p>
        </p:txBody>
      </p: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6C612ABC-6D3D-4E6D-A372-F6DEBBA7338F}"/>
              </a:ext>
            </a:extLst>
          </p:cNvPr>
          <p:cNvCxnSpPr>
            <a:cxnSpLocks/>
          </p:cNvCxnSpPr>
          <p:nvPr/>
        </p:nvCxnSpPr>
        <p:spPr>
          <a:xfrm>
            <a:off x="3517889" y="2465757"/>
            <a:ext cx="1716479" cy="0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8C76E270-A5E4-4055-B0B1-277A0B0BFB68}"/>
              </a:ext>
            </a:extLst>
          </p:cNvPr>
          <p:cNvSpPr/>
          <p:nvPr/>
        </p:nvSpPr>
        <p:spPr bwMode="auto">
          <a:xfrm>
            <a:off x="935418" y="3143342"/>
            <a:ext cx="1273175" cy="1006157"/>
          </a:xfrm>
          <a:custGeom>
            <a:avLst/>
            <a:gdLst>
              <a:gd name="connsiteX0" fmla="*/ 0 w 1273175"/>
              <a:gd name="connsiteY0" fmla="*/ 0 h 1050925"/>
              <a:gd name="connsiteX1" fmla="*/ 0 w 1273175"/>
              <a:gd name="connsiteY1" fmla="*/ 863600 h 1050925"/>
              <a:gd name="connsiteX2" fmla="*/ 1273175 w 1273175"/>
              <a:gd name="connsiteY2" fmla="*/ 863600 h 1050925"/>
              <a:gd name="connsiteX3" fmla="*/ 1273175 w 1273175"/>
              <a:gd name="connsiteY3" fmla="*/ 1050925 h 1050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3175" h="1050925">
                <a:moveTo>
                  <a:pt x="0" y="0"/>
                </a:moveTo>
                <a:lnTo>
                  <a:pt x="0" y="863600"/>
                </a:lnTo>
                <a:lnTo>
                  <a:pt x="1273175" y="863600"/>
                </a:lnTo>
                <a:lnTo>
                  <a:pt x="1273175" y="1050925"/>
                </a:lnTo>
              </a:path>
            </a:pathLst>
          </a:cu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es-mx">
              <a:solidFill>
                <a:schemeClr val="tx1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3D0BBB44-ED23-4E8C-BA68-EFBF8FBABD88}"/>
              </a:ext>
            </a:extLst>
          </p:cNvPr>
          <p:cNvSpPr txBox="1"/>
          <p:nvPr/>
        </p:nvSpPr>
        <p:spPr>
          <a:xfrm>
            <a:off x="697239" y="3330097"/>
            <a:ext cx="488658" cy="340519"/>
          </a:xfrm>
          <a:prstGeom prst="roundRect">
            <a:avLst/>
          </a:prstGeom>
          <a:solidFill>
            <a:schemeClr val="accent1"/>
          </a:solidFill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s-mx" sz="1000" b="0" i="0" u="none" baseline="0">
                <a:solidFill>
                  <a:schemeClr val="bg1"/>
                </a:solidFill>
              </a:rPr>
              <a:t>Clics en URL</a:t>
            </a:r>
          </a:p>
        </p:txBody>
      </p:sp>
      <p:grpSp>
        <p:nvGrpSpPr>
          <p:cNvPr id="94" name="Graphic 265">
            <a:extLst>
              <a:ext uri="{FF2B5EF4-FFF2-40B4-BE49-F238E27FC236}">
                <a16:creationId xmlns:a16="http://schemas.microsoft.com/office/drawing/2014/main" id="{B26A5AEA-1097-4CCA-9B2C-9729F9ACE7F6}"/>
              </a:ext>
            </a:extLst>
          </p:cNvPr>
          <p:cNvGrpSpPr/>
          <p:nvPr/>
        </p:nvGrpSpPr>
        <p:grpSpPr>
          <a:xfrm>
            <a:off x="876946" y="3664121"/>
            <a:ext cx="145402" cy="146446"/>
            <a:chOff x="36" y="2713012"/>
            <a:chExt cx="8226973" cy="8286125"/>
          </a:xfrm>
          <a:solidFill>
            <a:srgbClr val="000000"/>
          </a:solidFill>
        </p:grpSpPr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116B32A1-E3B1-4C14-BDDF-249D1B782270}"/>
                </a:ext>
              </a:extLst>
            </p:cNvPr>
            <p:cNvSpPr/>
            <p:nvPr/>
          </p:nvSpPr>
          <p:spPr>
            <a:xfrm>
              <a:off x="895805" y="3603498"/>
              <a:ext cx="1543552" cy="1545164"/>
            </a:xfrm>
            <a:custGeom>
              <a:avLst/>
              <a:gdLst>
                <a:gd name="connsiteX0" fmla="*/ 849768 w 1543552"/>
                <a:gd name="connsiteY0" fmla="*/ 1339501 h 1545164"/>
                <a:gd name="connsiteX1" fmla="*/ 955985 w 1543552"/>
                <a:gd name="connsiteY1" fmla="*/ 1445717 h 1545164"/>
                <a:gd name="connsiteX2" fmla="*/ 1444752 w 1543552"/>
                <a:gd name="connsiteY2" fmla="*/ 1445717 h 1545164"/>
                <a:gd name="connsiteX3" fmla="*/ 1444752 w 1543552"/>
                <a:gd name="connsiteY3" fmla="*/ 956950 h 1545164"/>
                <a:gd name="connsiteX4" fmla="*/ 693466 w 1543552"/>
                <a:gd name="connsiteY4" fmla="*/ 205664 h 1545164"/>
                <a:gd name="connsiteX5" fmla="*/ 587250 w 1543552"/>
                <a:gd name="connsiteY5" fmla="*/ 99448 h 1545164"/>
                <a:gd name="connsiteX6" fmla="*/ 98483 w 1543552"/>
                <a:gd name="connsiteY6" fmla="*/ 99448 h 1545164"/>
                <a:gd name="connsiteX7" fmla="*/ 98483 w 1543552"/>
                <a:gd name="connsiteY7" fmla="*/ 588215 h 1545164"/>
                <a:gd name="connsiteX8" fmla="*/ 849768 w 1543552"/>
                <a:gd name="connsiteY8" fmla="*/ 1339501 h 1545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43552" h="1545164">
                  <a:moveTo>
                    <a:pt x="849768" y="1339501"/>
                  </a:moveTo>
                  <a:cubicBezTo>
                    <a:pt x="885174" y="1374906"/>
                    <a:pt x="920579" y="1410312"/>
                    <a:pt x="955985" y="1445717"/>
                  </a:cubicBezTo>
                  <a:cubicBezTo>
                    <a:pt x="1083790" y="1573522"/>
                    <a:pt x="1318674" y="1583021"/>
                    <a:pt x="1444752" y="1445717"/>
                  </a:cubicBezTo>
                  <a:cubicBezTo>
                    <a:pt x="1571693" y="1307550"/>
                    <a:pt x="1581192" y="1093390"/>
                    <a:pt x="1444752" y="956950"/>
                  </a:cubicBezTo>
                  <a:cubicBezTo>
                    <a:pt x="1194323" y="706521"/>
                    <a:pt x="943895" y="456093"/>
                    <a:pt x="693466" y="205664"/>
                  </a:cubicBezTo>
                  <a:cubicBezTo>
                    <a:pt x="658061" y="170259"/>
                    <a:pt x="622655" y="134853"/>
                    <a:pt x="587250" y="99448"/>
                  </a:cubicBezTo>
                  <a:cubicBezTo>
                    <a:pt x="459445" y="-28357"/>
                    <a:pt x="224561" y="-37856"/>
                    <a:pt x="98483" y="99448"/>
                  </a:cubicBezTo>
                  <a:cubicBezTo>
                    <a:pt x="-27595" y="237615"/>
                    <a:pt x="-37958" y="451775"/>
                    <a:pt x="98483" y="588215"/>
                  </a:cubicBezTo>
                  <a:cubicBezTo>
                    <a:pt x="348911" y="838644"/>
                    <a:pt x="599340" y="1089072"/>
                    <a:pt x="849768" y="1339501"/>
                  </a:cubicBezTo>
                  <a:close/>
                </a:path>
              </a:pathLst>
            </a:custGeom>
            <a:solidFill>
              <a:srgbClr val="243A5E"/>
            </a:solidFill>
            <a:ln w="86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6B8D2ACC-37AA-43D9-A09A-1BABEB14EE07}"/>
                </a:ext>
              </a:extLst>
            </p:cNvPr>
            <p:cNvSpPr/>
            <p:nvPr/>
          </p:nvSpPr>
          <p:spPr>
            <a:xfrm>
              <a:off x="906066" y="7045379"/>
              <a:ext cx="1545164" cy="1543869"/>
            </a:xfrm>
            <a:custGeom>
              <a:avLst/>
              <a:gdLst>
                <a:gd name="connsiteX0" fmla="*/ 1445717 w 1545164"/>
                <a:gd name="connsiteY0" fmla="*/ 98800 h 1543869"/>
                <a:gd name="connsiteX1" fmla="*/ 956950 w 1545164"/>
                <a:gd name="connsiteY1" fmla="*/ 98800 h 1543869"/>
                <a:gd name="connsiteX2" fmla="*/ 205664 w 1545164"/>
                <a:gd name="connsiteY2" fmla="*/ 850086 h 1543869"/>
                <a:gd name="connsiteX3" fmla="*/ 99448 w 1545164"/>
                <a:gd name="connsiteY3" fmla="*/ 956302 h 1543869"/>
                <a:gd name="connsiteX4" fmla="*/ 99448 w 1545164"/>
                <a:gd name="connsiteY4" fmla="*/ 1445069 h 1543869"/>
                <a:gd name="connsiteX5" fmla="*/ 588215 w 1545164"/>
                <a:gd name="connsiteY5" fmla="*/ 1445069 h 1543869"/>
                <a:gd name="connsiteX6" fmla="*/ 1339501 w 1545164"/>
                <a:gd name="connsiteY6" fmla="*/ 693784 h 1543869"/>
                <a:gd name="connsiteX7" fmla="*/ 1445717 w 1545164"/>
                <a:gd name="connsiteY7" fmla="*/ 587568 h 1543869"/>
                <a:gd name="connsiteX8" fmla="*/ 1445717 w 1545164"/>
                <a:gd name="connsiteY8" fmla="*/ 98800 h 1543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45164" h="1543869">
                  <a:moveTo>
                    <a:pt x="1445717" y="98800"/>
                  </a:moveTo>
                  <a:cubicBezTo>
                    <a:pt x="1307550" y="-28141"/>
                    <a:pt x="1093390" y="-37640"/>
                    <a:pt x="956950" y="98800"/>
                  </a:cubicBezTo>
                  <a:cubicBezTo>
                    <a:pt x="706521" y="349229"/>
                    <a:pt x="456093" y="599657"/>
                    <a:pt x="205664" y="850086"/>
                  </a:cubicBezTo>
                  <a:cubicBezTo>
                    <a:pt x="170259" y="885491"/>
                    <a:pt x="134853" y="920897"/>
                    <a:pt x="99448" y="956302"/>
                  </a:cubicBezTo>
                  <a:cubicBezTo>
                    <a:pt x="-28357" y="1084107"/>
                    <a:pt x="-37856" y="1318992"/>
                    <a:pt x="99448" y="1445069"/>
                  </a:cubicBezTo>
                  <a:cubicBezTo>
                    <a:pt x="237615" y="1572011"/>
                    <a:pt x="451775" y="1581510"/>
                    <a:pt x="588215" y="1445069"/>
                  </a:cubicBezTo>
                  <a:cubicBezTo>
                    <a:pt x="838644" y="1194641"/>
                    <a:pt x="1089072" y="944212"/>
                    <a:pt x="1339501" y="693784"/>
                  </a:cubicBezTo>
                  <a:cubicBezTo>
                    <a:pt x="1374906" y="658379"/>
                    <a:pt x="1410312" y="622973"/>
                    <a:pt x="1445717" y="587568"/>
                  </a:cubicBezTo>
                  <a:cubicBezTo>
                    <a:pt x="1573522" y="459763"/>
                    <a:pt x="1583021" y="224878"/>
                    <a:pt x="1445717" y="98800"/>
                  </a:cubicBezTo>
                  <a:close/>
                </a:path>
              </a:pathLst>
            </a:custGeom>
            <a:solidFill>
              <a:srgbClr val="243A5E"/>
            </a:solidFill>
            <a:ln w="86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0BF325C-731C-4D10-ABC3-16CFD4AB9879}"/>
                </a:ext>
              </a:extLst>
            </p:cNvPr>
            <p:cNvSpPr/>
            <p:nvPr/>
          </p:nvSpPr>
          <p:spPr>
            <a:xfrm>
              <a:off x="4348163" y="3604145"/>
              <a:ext cx="1545164" cy="1543552"/>
            </a:xfrm>
            <a:custGeom>
              <a:avLst/>
              <a:gdLst>
                <a:gd name="connsiteX0" fmla="*/ 99448 w 1545164"/>
                <a:gd name="connsiteY0" fmla="*/ 1445070 h 1543552"/>
                <a:gd name="connsiteX1" fmla="*/ 588215 w 1545164"/>
                <a:gd name="connsiteY1" fmla="*/ 1445070 h 1543552"/>
                <a:gd name="connsiteX2" fmla="*/ 1339501 w 1545164"/>
                <a:gd name="connsiteY2" fmla="*/ 693784 h 1543552"/>
                <a:gd name="connsiteX3" fmla="*/ 1445717 w 1545164"/>
                <a:gd name="connsiteY3" fmla="*/ 587568 h 1543552"/>
                <a:gd name="connsiteX4" fmla="*/ 1445717 w 1545164"/>
                <a:gd name="connsiteY4" fmla="*/ 98800 h 1543552"/>
                <a:gd name="connsiteX5" fmla="*/ 956950 w 1545164"/>
                <a:gd name="connsiteY5" fmla="*/ 98800 h 1543552"/>
                <a:gd name="connsiteX6" fmla="*/ 205664 w 1545164"/>
                <a:gd name="connsiteY6" fmla="*/ 850086 h 1543552"/>
                <a:gd name="connsiteX7" fmla="*/ 99448 w 1545164"/>
                <a:gd name="connsiteY7" fmla="*/ 956302 h 1543552"/>
                <a:gd name="connsiteX8" fmla="*/ 99448 w 1545164"/>
                <a:gd name="connsiteY8" fmla="*/ 1445070 h 1543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45164" h="1543552">
                  <a:moveTo>
                    <a:pt x="99448" y="1445070"/>
                  </a:moveTo>
                  <a:cubicBezTo>
                    <a:pt x="237615" y="1571148"/>
                    <a:pt x="451775" y="1581510"/>
                    <a:pt x="588215" y="1445070"/>
                  </a:cubicBezTo>
                  <a:cubicBezTo>
                    <a:pt x="838644" y="1194641"/>
                    <a:pt x="1089072" y="944212"/>
                    <a:pt x="1339501" y="693784"/>
                  </a:cubicBezTo>
                  <a:cubicBezTo>
                    <a:pt x="1374906" y="658379"/>
                    <a:pt x="1410312" y="622973"/>
                    <a:pt x="1445717" y="587568"/>
                  </a:cubicBezTo>
                  <a:cubicBezTo>
                    <a:pt x="1573522" y="459763"/>
                    <a:pt x="1583021" y="224878"/>
                    <a:pt x="1445717" y="98800"/>
                  </a:cubicBezTo>
                  <a:cubicBezTo>
                    <a:pt x="1307550" y="-28141"/>
                    <a:pt x="1093390" y="-37640"/>
                    <a:pt x="956950" y="98800"/>
                  </a:cubicBezTo>
                  <a:cubicBezTo>
                    <a:pt x="706521" y="349229"/>
                    <a:pt x="456093" y="599657"/>
                    <a:pt x="205664" y="850086"/>
                  </a:cubicBezTo>
                  <a:cubicBezTo>
                    <a:pt x="170258" y="885491"/>
                    <a:pt x="134853" y="920897"/>
                    <a:pt x="99448" y="956302"/>
                  </a:cubicBezTo>
                  <a:cubicBezTo>
                    <a:pt x="-28357" y="1084107"/>
                    <a:pt x="-37856" y="1318992"/>
                    <a:pt x="99448" y="1445070"/>
                  </a:cubicBezTo>
                  <a:close/>
                </a:path>
              </a:pathLst>
            </a:custGeom>
            <a:solidFill>
              <a:srgbClr val="243A5E"/>
            </a:solidFill>
            <a:ln w="86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0A8C1123-F679-4EC0-8571-19515C37ECBF}"/>
                </a:ext>
              </a:extLst>
            </p:cNvPr>
            <p:cNvSpPr/>
            <p:nvPr/>
          </p:nvSpPr>
          <p:spPr>
            <a:xfrm>
              <a:off x="36" y="5746097"/>
              <a:ext cx="1904739" cy="690837"/>
            </a:xfrm>
            <a:custGeom>
              <a:avLst/>
              <a:gdLst>
                <a:gd name="connsiteX0" fmla="*/ 1559011 w 1904739"/>
                <a:gd name="connsiteY0" fmla="*/ 690837 h 690837"/>
                <a:gd name="connsiteX1" fmla="*/ 1904430 w 1904739"/>
                <a:gd name="connsiteY1" fmla="*/ 345419 h 690837"/>
                <a:gd name="connsiteX2" fmla="*/ 1559011 w 1904739"/>
                <a:gd name="connsiteY2" fmla="*/ 0 h 690837"/>
                <a:gd name="connsiteX3" fmla="*/ 496849 w 1904739"/>
                <a:gd name="connsiteY3" fmla="*/ 0 h 690837"/>
                <a:gd name="connsiteX4" fmla="*/ 345728 w 1904739"/>
                <a:gd name="connsiteY4" fmla="*/ 0 h 690837"/>
                <a:gd name="connsiteX5" fmla="*/ 309 w 1904739"/>
                <a:gd name="connsiteY5" fmla="*/ 345419 h 690837"/>
                <a:gd name="connsiteX6" fmla="*/ 345728 w 1904739"/>
                <a:gd name="connsiteY6" fmla="*/ 690837 h 690837"/>
                <a:gd name="connsiteX7" fmla="*/ 1407890 w 1904739"/>
                <a:gd name="connsiteY7" fmla="*/ 690837 h 690837"/>
                <a:gd name="connsiteX8" fmla="*/ 1559011 w 1904739"/>
                <a:gd name="connsiteY8" fmla="*/ 690837 h 690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04739" h="690837">
                  <a:moveTo>
                    <a:pt x="1559011" y="690837"/>
                  </a:moveTo>
                  <a:cubicBezTo>
                    <a:pt x="1739492" y="690837"/>
                    <a:pt x="1913065" y="531945"/>
                    <a:pt x="1904430" y="345419"/>
                  </a:cubicBezTo>
                  <a:cubicBezTo>
                    <a:pt x="1895794" y="158029"/>
                    <a:pt x="1752446" y="0"/>
                    <a:pt x="1559011" y="0"/>
                  </a:cubicBezTo>
                  <a:cubicBezTo>
                    <a:pt x="1204957" y="0"/>
                    <a:pt x="850903" y="0"/>
                    <a:pt x="496849" y="0"/>
                  </a:cubicBezTo>
                  <a:cubicBezTo>
                    <a:pt x="446763" y="0"/>
                    <a:pt x="396677" y="0"/>
                    <a:pt x="345728" y="0"/>
                  </a:cubicBezTo>
                  <a:cubicBezTo>
                    <a:pt x="165247" y="0"/>
                    <a:pt x="-8326" y="158893"/>
                    <a:pt x="309" y="345419"/>
                  </a:cubicBezTo>
                  <a:cubicBezTo>
                    <a:pt x="8081" y="532808"/>
                    <a:pt x="151430" y="690837"/>
                    <a:pt x="345728" y="690837"/>
                  </a:cubicBezTo>
                  <a:cubicBezTo>
                    <a:pt x="699782" y="690837"/>
                    <a:pt x="1053836" y="690837"/>
                    <a:pt x="1407890" y="690837"/>
                  </a:cubicBezTo>
                  <a:cubicBezTo>
                    <a:pt x="1457976" y="690837"/>
                    <a:pt x="1508062" y="690837"/>
                    <a:pt x="1559011" y="690837"/>
                  </a:cubicBezTo>
                  <a:close/>
                </a:path>
              </a:pathLst>
            </a:custGeom>
            <a:solidFill>
              <a:srgbClr val="243A5E"/>
            </a:solidFill>
            <a:ln w="86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C3C01E5F-D97D-448B-AACD-5B4F20B51040}"/>
                </a:ext>
              </a:extLst>
            </p:cNvPr>
            <p:cNvSpPr/>
            <p:nvPr/>
          </p:nvSpPr>
          <p:spPr>
            <a:xfrm>
              <a:off x="3048665" y="2713012"/>
              <a:ext cx="690837" cy="1904738"/>
            </a:xfrm>
            <a:custGeom>
              <a:avLst/>
              <a:gdLst>
                <a:gd name="connsiteX0" fmla="*/ 345419 w 690837"/>
                <a:gd name="connsiteY0" fmla="*/ 1904430 h 1904738"/>
                <a:gd name="connsiteX1" fmla="*/ 690837 w 690837"/>
                <a:gd name="connsiteY1" fmla="*/ 1559011 h 1904738"/>
                <a:gd name="connsiteX2" fmla="*/ 690837 w 690837"/>
                <a:gd name="connsiteY2" fmla="*/ 496849 h 1904738"/>
                <a:gd name="connsiteX3" fmla="*/ 690837 w 690837"/>
                <a:gd name="connsiteY3" fmla="*/ 345728 h 1904738"/>
                <a:gd name="connsiteX4" fmla="*/ 345419 w 690837"/>
                <a:gd name="connsiteY4" fmla="*/ 309 h 1904738"/>
                <a:gd name="connsiteX5" fmla="*/ 0 w 690837"/>
                <a:gd name="connsiteY5" fmla="*/ 345728 h 1904738"/>
                <a:gd name="connsiteX6" fmla="*/ 0 w 690837"/>
                <a:gd name="connsiteY6" fmla="*/ 1407890 h 1904738"/>
                <a:gd name="connsiteX7" fmla="*/ 0 w 690837"/>
                <a:gd name="connsiteY7" fmla="*/ 1559011 h 1904738"/>
                <a:gd name="connsiteX8" fmla="*/ 345419 w 690837"/>
                <a:gd name="connsiteY8" fmla="*/ 1904430 h 1904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0837" h="1904738">
                  <a:moveTo>
                    <a:pt x="345419" y="1904430"/>
                  </a:moveTo>
                  <a:cubicBezTo>
                    <a:pt x="531945" y="1896658"/>
                    <a:pt x="690837" y="1753309"/>
                    <a:pt x="690837" y="1559011"/>
                  </a:cubicBezTo>
                  <a:cubicBezTo>
                    <a:pt x="690837" y="1204957"/>
                    <a:pt x="690837" y="850903"/>
                    <a:pt x="690837" y="496849"/>
                  </a:cubicBezTo>
                  <a:cubicBezTo>
                    <a:pt x="690837" y="446763"/>
                    <a:pt x="690837" y="396677"/>
                    <a:pt x="690837" y="345728"/>
                  </a:cubicBezTo>
                  <a:cubicBezTo>
                    <a:pt x="690837" y="165247"/>
                    <a:pt x="531945" y="-8326"/>
                    <a:pt x="345419" y="309"/>
                  </a:cubicBezTo>
                  <a:cubicBezTo>
                    <a:pt x="158029" y="8945"/>
                    <a:pt x="0" y="152294"/>
                    <a:pt x="0" y="345728"/>
                  </a:cubicBezTo>
                  <a:cubicBezTo>
                    <a:pt x="0" y="699782"/>
                    <a:pt x="0" y="1053836"/>
                    <a:pt x="0" y="1407890"/>
                  </a:cubicBezTo>
                  <a:cubicBezTo>
                    <a:pt x="0" y="1457976"/>
                    <a:pt x="0" y="1508062"/>
                    <a:pt x="0" y="1559011"/>
                  </a:cubicBezTo>
                  <a:cubicBezTo>
                    <a:pt x="0" y="1739492"/>
                    <a:pt x="158893" y="1913065"/>
                    <a:pt x="345419" y="1904430"/>
                  </a:cubicBezTo>
                  <a:close/>
                </a:path>
              </a:pathLst>
            </a:custGeom>
            <a:solidFill>
              <a:srgbClr val="243A5E"/>
            </a:solidFill>
            <a:ln w="86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8760E350-BE13-4466-AEBA-8E543FC4B0BA}"/>
                </a:ext>
              </a:extLst>
            </p:cNvPr>
            <p:cNvSpPr/>
            <p:nvPr/>
          </p:nvSpPr>
          <p:spPr>
            <a:xfrm>
              <a:off x="3103155" y="5809049"/>
              <a:ext cx="5123854" cy="5190088"/>
            </a:xfrm>
            <a:custGeom>
              <a:avLst/>
              <a:gdLst>
                <a:gd name="connsiteX0" fmla="*/ 5007362 w 5123854"/>
                <a:gd name="connsiteY0" fmla="*/ 3980346 h 5190088"/>
                <a:gd name="connsiteX1" fmla="*/ 5004167 w 5123854"/>
                <a:gd name="connsiteY1" fmla="*/ 3970674 h 5190088"/>
                <a:gd name="connsiteX2" fmla="*/ 4995877 w 5123854"/>
                <a:gd name="connsiteY2" fmla="*/ 3964111 h 5190088"/>
                <a:gd name="connsiteX3" fmla="*/ 4430772 w 5123854"/>
                <a:gd name="connsiteY3" fmla="*/ 3399006 h 5190088"/>
                <a:gd name="connsiteX4" fmla="*/ 3518867 w 5123854"/>
                <a:gd name="connsiteY4" fmla="*/ 2487101 h 5190088"/>
                <a:gd name="connsiteX5" fmla="*/ 3465413 w 5123854"/>
                <a:gd name="connsiteY5" fmla="*/ 2433647 h 5190088"/>
                <a:gd name="connsiteX6" fmla="*/ 3645894 w 5123854"/>
                <a:gd name="connsiteY6" fmla="*/ 2321214 h 5190088"/>
                <a:gd name="connsiteX7" fmla="*/ 4898641 w 5123854"/>
                <a:gd name="connsiteY7" fmla="*/ 1590912 h 5190088"/>
                <a:gd name="connsiteX8" fmla="*/ 654655 w 5123854"/>
                <a:gd name="connsiteY8" fmla="*/ 212605 h 5190088"/>
                <a:gd name="connsiteX9" fmla="*/ 649387 w 5123854"/>
                <a:gd name="connsiteY9" fmla="*/ 210792 h 5190088"/>
                <a:gd name="connsiteX10" fmla="*/ 649387 w 5123854"/>
                <a:gd name="connsiteY10" fmla="*/ 210792 h 5190088"/>
                <a:gd name="connsiteX11" fmla="*/ 649387 w 5123854"/>
                <a:gd name="connsiteY11" fmla="*/ 210792 h 5190088"/>
                <a:gd name="connsiteX12" fmla="*/ 322880 w 5123854"/>
                <a:gd name="connsiteY12" fmla="*/ 104576 h 5190088"/>
                <a:gd name="connsiteX13" fmla="*/ 315972 w 5123854"/>
                <a:gd name="connsiteY13" fmla="*/ 101985 h 5190088"/>
                <a:gd name="connsiteX14" fmla="*/ 303882 w 5123854"/>
                <a:gd name="connsiteY14" fmla="*/ 98617 h 5190088"/>
                <a:gd name="connsiteX15" fmla="*/ 0 w 5123854"/>
                <a:gd name="connsiteY15" fmla="*/ 0 h 5190088"/>
                <a:gd name="connsiteX16" fmla="*/ 1631585 w 5123854"/>
                <a:gd name="connsiteY16" fmla="*/ 4987241 h 5190088"/>
                <a:gd name="connsiteX17" fmla="*/ 2433734 w 5123854"/>
                <a:gd name="connsiteY17" fmla="*/ 3465845 h 5190088"/>
                <a:gd name="connsiteX18" fmla="*/ 2852209 w 5123854"/>
                <a:gd name="connsiteY18" fmla="*/ 3884320 h 5190088"/>
                <a:gd name="connsiteX19" fmla="*/ 3730349 w 5123854"/>
                <a:gd name="connsiteY19" fmla="*/ 4762460 h 5190088"/>
                <a:gd name="connsiteX20" fmla="*/ 4153832 w 5123854"/>
                <a:gd name="connsiteY20" fmla="*/ 5190088 h 5190088"/>
                <a:gd name="connsiteX21" fmla="*/ 5123855 w 5123854"/>
                <a:gd name="connsiteY21" fmla="*/ 4100897 h 5190088"/>
                <a:gd name="connsiteX22" fmla="*/ 5007362 w 5123854"/>
                <a:gd name="connsiteY22" fmla="*/ 3980346 h 5190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123854" h="5190088">
                  <a:moveTo>
                    <a:pt x="5007362" y="3980346"/>
                  </a:moveTo>
                  <a:cubicBezTo>
                    <a:pt x="5007448" y="3976114"/>
                    <a:pt x="5006498" y="3972747"/>
                    <a:pt x="5004167" y="3970674"/>
                  </a:cubicBezTo>
                  <a:cubicBezTo>
                    <a:pt x="5001490" y="3968343"/>
                    <a:pt x="4998640" y="3966270"/>
                    <a:pt x="4995877" y="3964111"/>
                  </a:cubicBezTo>
                  <a:cubicBezTo>
                    <a:pt x="4807537" y="3775772"/>
                    <a:pt x="4619111" y="3587346"/>
                    <a:pt x="4430772" y="3399006"/>
                  </a:cubicBezTo>
                  <a:cubicBezTo>
                    <a:pt x="4126803" y="3095038"/>
                    <a:pt x="3822835" y="2791069"/>
                    <a:pt x="3518867" y="2487101"/>
                  </a:cubicBezTo>
                  <a:cubicBezTo>
                    <a:pt x="3501078" y="2469312"/>
                    <a:pt x="3483288" y="2451523"/>
                    <a:pt x="3465413" y="2433647"/>
                  </a:cubicBezTo>
                  <a:cubicBezTo>
                    <a:pt x="3525602" y="2396170"/>
                    <a:pt x="3585705" y="2358691"/>
                    <a:pt x="3645894" y="2321214"/>
                  </a:cubicBezTo>
                  <a:lnTo>
                    <a:pt x="4898641" y="1590912"/>
                  </a:lnTo>
                  <a:lnTo>
                    <a:pt x="654655" y="212605"/>
                  </a:lnTo>
                  <a:cubicBezTo>
                    <a:pt x="652928" y="212001"/>
                    <a:pt x="651114" y="211396"/>
                    <a:pt x="649387" y="210792"/>
                  </a:cubicBezTo>
                  <a:lnTo>
                    <a:pt x="649387" y="210792"/>
                  </a:lnTo>
                  <a:lnTo>
                    <a:pt x="649387" y="210792"/>
                  </a:lnTo>
                  <a:cubicBezTo>
                    <a:pt x="541185" y="173573"/>
                    <a:pt x="432810" y="136527"/>
                    <a:pt x="322880" y="104576"/>
                  </a:cubicBezTo>
                  <a:cubicBezTo>
                    <a:pt x="320289" y="103712"/>
                    <a:pt x="318562" y="102848"/>
                    <a:pt x="315972" y="101985"/>
                  </a:cubicBezTo>
                  <a:cubicBezTo>
                    <a:pt x="311913" y="100690"/>
                    <a:pt x="307941" y="99567"/>
                    <a:pt x="303882" y="98617"/>
                  </a:cubicBezTo>
                  <a:lnTo>
                    <a:pt x="0" y="0"/>
                  </a:lnTo>
                  <a:lnTo>
                    <a:pt x="1631585" y="4987241"/>
                  </a:lnTo>
                  <a:lnTo>
                    <a:pt x="2433734" y="3465845"/>
                  </a:lnTo>
                  <a:cubicBezTo>
                    <a:pt x="2573197" y="3605308"/>
                    <a:pt x="2712746" y="3744857"/>
                    <a:pt x="2852209" y="3884320"/>
                  </a:cubicBezTo>
                  <a:cubicBezTo>
                    <a:pt x="3144951" y="4177062"/>
                    <a:pt x="3437607" y="4469718"/>
                    <a:pt x="3730349" y="4762460"/>
                  </a:cubicBezTo>
                  <a:lnTo>
                    <a:pt x="4153832" y="5190088"/>
                  </a:lnTo>
                  <a:lnTo>
                    <a:pt x="5123855" y="4100897"/>
                  </a:lnTo>
                  <a:lnTo>
                    <a:pt x="5007362" y="3980346"/>
                  </a:lnTo>
                  <a:close/>
                </a:path>
              </a:pathLst>
            </a:custGeom>
            <a:solidFill>
              <a:schemeClr val="accent1"/>
            </a:solidFill>
            <a:ln w="86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</p:grpSp>
      <p:sp>
        <p:nvSpPr>
          <p:cNvPr id="101" name="Freeform: Shape 100">
            <a:extLst>
              <a:ext uri="{FF2B5EF4-FFF2-40B4-BE49-F238E27FC236}">
                <a16:creationId xmlns:a16="http://schemas.microsoft.com/office/drawing/2014/main" id="{AAB5BCAA-03CA-4004-9048-A6673A45F1B3}"/>
              </a:ext>
            </a:extLst>
          </p:cNvPr>
          <p:cNvSpPr/>
          <p:nvPr/>
        </p:nvSpPr>
        <p:spPr bwMode="auto">
          <a:xfrm>
            <a:off x="5523928" y="2786320"/>
            <a:ext cx="563880" cy="838200"/>
          </a:xfrm>
          <a:custGeom>
            <a:avLst/>
            <a:gdLst>
              <a:gd name="connsiteX0" fmla="*/ 0 w 563880"/>
              <a:gd name="connsiteY0" fmla="*/ 0 h 838200"/>
              <a:gd name="connsiteX1" fmla="*/ 0 w 563880"/>
              <a:gd name="connsiteY1" fmla="*/ 838200 h 838200"/>
              <a:gd name="connsiteX2" fmla="*/ 563880 w 563880"/>
              <a:gd name="connsiteY2" fmla="*/ 838200 h 83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63880" h="838200">
                <a:moveTo>
                  <a:pt x="0" y="0"/>
                </a:moveTo>
                <a:lnTo>
                  <a:pt x="0" y="838200"/>
                </a:lnTo>
                <a:lnTo>
                  <a:pt x="563880" y="838200"/>
                </a:lnTo>
              </a:path>
            </a:pathLst>
          </a:cu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es-mx">
              <a:solidFill>
                <a:schemeClr val="tx1"/>
              </a:solidFill>
            </a:endParaRPr>
          </a:p>
        </p:txBody>
      </p:sp>
      <p:sp>
        <p:nvSpPr>
          <p:cNvPr id="102" name="Freeform: Shape 101">
            <a:extLst>
              <a:ext uri="{FF2B5EF4-FFF2-40B4-BE49-F238E27FC236}">
                <a16:creationId xmlns:a16="http://schemas.microsoft.com/office/drawing/2014/main" id="{FDD4ABEE-8ADF-4309-AD25-A7953A5476E5}"/>
              </a:ext>
            </a:extLst>
          </p:cNvPr>
          <p:cNvSpPr/>
          <p:nvPr/>
        </p:nvSpPr>
        <p:spPr bwMode="auto">
          <a:xfrm rot="16200000">
            <a:off x="7312765" y="3312845"/>
            <a:ext cx="481178" cy="142171"/>
          </a:xfrm>
          <a:custGeom>
            <a:avLst/>
            <a:gdLst>
              <a:gd name="connsiteX0" fmla="*/ 0 w 563880"/>
              <a:gd name="connsiteY0" fmla="*/ 0 h 838200"/>
              <a:gd name="connsiteX1" fmla="*/ 0 w 563880"/>
              <a:gd name="connsiteY1" fmla="*/ 838200 h 838200"/>
              <a:gd name="connsiteX2" fmla="*/ 563880 w 563880"/>
              <a:gd name="connsiteY2" fmla="*/ 838200 h 83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63880" h="838200">
                <a:moveTo>
                  <a:pt x="0" y="0"/>
                </a:moveTo>
                <a:lnTo>
                  <a:pt x="0" y="838200"/>
                </a:lnTo>
                <a:lnTo>
                  <a:pt x="563880" y="838200"/>
                </a:lnTo>
              </a:path>
            </a:pathLst>
          </a:cu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es-mx">
              <a:solidFill>
                <a:schemeClr val="tx1"/>
              </a:solidFill>
            </a:endParaRPr>
          </a:p>
        </p:txBody>
      </p:sp>
      <p:sp>
        <p:nvSpPr>
          <p:cNvPr id="103" name="Freeform: Shape 102">
            <a:extLst>
              <a:ext uri="{FF2B5EF4-FFF2-40B4-BE49-F238E27FC236}">
                <a16:creationId xmlns:a16="http://schemas.microsoft.com/office/drawing/2014/main" id="{8E6A83E3-C255-4808-A5FE-15BFA653FA8A}"/>
              </a:ext>
            </a:extLst>
          </p:cNvPr>
          <p:cNvSpPr/>
          <p:nvPr/>
        </p:nvSpPr>
        <p:spPr bwMode="auto">
          <a:xfrm>
            <a:off x="6582156" y="3880417"/>
            <a:ext cx="633412" cy="269082"/>
          </a:xfrm>
          <a:custGeom>
            <a:avLst/>
            <a:gdLst>
              <a:gd name="connsiteX0" fmla="*/ 0 w 623887"/>
              <a:gd name="connsiteY0" fmla="*/ 269082 h 269082"/>
              <a:gd name="connsiteX1" fmla="*/ 0 w 623887"/>
              <a:gd name="connsiteY1" fmla="*/ 176213 h 269082"/>
              <a:gd name="connsiteX2" fmla="*/ 623887 w 623887"/>
              <a:gd name="connsiteY2" fmla="*/ 176213 h 269082"/>
              <a:gd name="connsiteX3" fmla="*/ 623887 w 623887"/>
              <a:gd name="connsiteY3" fmla="*/ 0 h 269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23887" h="269082">
                <a:moveTo>
                  <a:pt x="0" y="269082"/>
                </a:moveTo>
                <a:lnTo>
                  <a:pt x="0" y="176213"/>
                </a:lnTo>
                <a:lnTo>
                  <a:pt x="623887" y="176213"/>
                </a:lnTo>
                <a:lnTo>
                  <a:pt x="623887" y="0"/>
                </a:lnTo>
              </a:path>
            </a:pathLst>
          </a:cu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es-mx">
              <a:solidFill>
                <a:schemeClr val="tx1"/>
              </a:solidFill>
            </a:endParaRPr>
          </a:p>
        </p:txBody>
      </p: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7B7F34D8-EEE6-4529-A285-4C338660133B}"/>
              </a:ext>
            </a:extLst>
          </p:cNvPr>
          <p:cNvCxnSpPr>
            <a:cxnSpLocks/>
          </p:cNvCxnSpPr>
          <p:nvPr/>
        </p:nvCxnSpPr>
        <p:spPr>
          <a:xfrm flipH="1">
            <a:off x="2388611" y="2003790"/>
            <a:ext cx="2767235" cy="0"/>
          </a:xfrm>
          <a:prstGeom prst="line">
            <a:avLst/>
          </a:prstGeom>
          <a:ln w="9525"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9C474457-9E98-438F-925B-0460CC352610}"/>
              </a:ext>
            </a:extLst>
          </p:cNvPr>
          <p:cNvCxnSpPr>
            <a:cxnSpLocks/>
          </p:cNvCxnSpPr>
          <p:nvPr/>
        </p:nvCxnSpPr>
        <p:spPr>
          <a:xfrm flipH="1">
            <a:off x="5287504" y="2003790"/>
            <a:ext cx="2767235" cy="0"/>
          </a:xfrm>
          <a:prstGeom prst="line">
            <a:avLst/>
          </a:prstGeom>
          <a:ln w="952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3F614C8B-DDCE-4151-8F1E-C7B275615279}"/>
              </a:ext>
            </a:extLst>
          </p:cNvPr>
          <p:cNvCxnSpPr>
            <a:cxnSpLocks/>
          </p:cNvCxnSpPr>
          <p:nvPr/>
        </p:nvCxnSpPr>
        <p:spPr>
          <a:xfrm flipH="1">
            <a:off x="4409549" y="5309289"/>
            <a:ext cx="3645190" cy="0"/>
          </a:xfrm>
          <a:prstGeom prst="line">
            <a:avLst/>
          </a:prstGeom>
          <a:ln w="9525">
            <a:solidFill>
              <a:schemeClr val="accent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DA9EC1D1-41F0-4F9E-815A-10D39F770E4E}"/>
              </a:ext>
            </a:extLst>
          </p:cNvPr>
          <p:cNvCxnSpPr>
            <a:cxnSpLocks/>
          </p:cNvCxnSpPr>
          <p:nvPr/>
        </p:nvCxnSpPr>
        <p:spPr>
          <a:xfrm flipH="1">
            <a:off x="590931" y="5309289"/>
            <a:ext cx="3645190" cy="0"/>
          </a:xfrm>
          <a:prstGeom prst="line">
            <a:avLst/>
          </a:prstGeom>
          <a:ln w="952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tangle 27">
            <a:extLst>
              <a:ext uri="{FF2B5EF4-FFF2-40B4-BE49-F238E27FC236}">
                <a16:creationId xmlns:a16="http://schemas.microsoft.com/office/drawing/2014/main" id="{9A193F1F-A044-4C1B-AD28-41E0BAE610B3}"/>
              </a:ext>
            </a:extLst>
          </p:cNvPr>
          <p:cNvSpPr/>
          <p:nvPr/>
        </p:nvSpPr>
        <p:spPr bwMode="auto">
          <a:xfrm>
            <a:off x="590931" y="5643787"/>
            <a:ext cx="7453312" cy="250395"/>
          </a:xfrm>
          <a:custGeom>
            <a:avLst/>
            <a:gdLst>
              <a:gd name="connsiteX0" fmla="*/ 0 w 7453312"/>
              <a:gd name="connsiteY0" fmla="*/ 0 h 250395"/>
              <a:gd name="connsiteX1" fmla="*/ 7453312 w 7453312"/>
              <a:gd name="connsiteY1" fmla="*/ 0 h 250395"/>
              <a:gd name="connsiteX2" fmla="*/ 7453312 w 7453312"/>
              <a:gd name="connsiteY2" fmla="*/ 250395 h 250395"/>
              <a:gd name="connsiteX3" fmla="*/ 0 w 7453312"/>
              <a:gd name="connsiteY3" fmla="*/ 250395 h 250395"/>
              <a:gd name="connsiteX4" fmla="*/ 0 w 7453312"/>
              <a:gd name="connsiteY4" fmla="*/ 0 h 250395"/>
              <a:gd name="connsiteX0" fmla="*/ 7453312 w 7544752"/>
              <a:gd name="connsiteY0" fmla="*/ 0 h 250395"/>
              <a:gd name="connsiteX1" fmla="*/ 7453312 w 7544752"/>
              <a:gd name="connsiteY1" fmla="*/ 250395 h 250395"/>
              <a:gd name="connsiteX2" fmla="*/ 0 w 7544752"/>
              <a:gd name="connsiteY2" fmla="*/ 250395 h 250395"/>
              <a:gd name="connsiteX3" fmla="*/ 0 w 7544752"/>
              <a:gd name="connsiteY3" fmla="*/ 0 h 250395"/>
              <a:gd name="connsiteX4" fmla="*/ 7544752 w 7544752"/>
              <a:gd name="connsiteY4" fmla="*/ 91440 h 250395"/>
              <a:gd name="connsiteX0" fmla="*/ 7453312 w 7453312"/>
              <a:gd name="connsiteY0" fmla="*/ 0 h 250395"/>
              <a:gd name="connsiteX1" fmla="*/ 7453312 w 7453312"/>
              <a:gd name="connsiteY1" fmla="*/ 250395 h 250395"/>
              <a:gd name="connsiteX2" fmla="*/ 0 w 7453312"/>
              <a:gd name="connsiteY2" fmla="*/ 250395 h 250395"/>
              <a:gd name="connsiteX3" fmla="*/ 0 w 7453312"/>
              <a:gd name="connsiteY3" fmla="*/ 0 h 250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53312" h="250395">
                <a:moveTo>
                  <a:pt x="7453312" y="0"/>
                </a:moveTo>
                <a:lnTo>
                  <a:pt x="7453312" y="250395"/>
                </a:lnTo>
                <a:lnTo>
                  <a:pt x="0" y="250395"/>
                </a:lnTo>
                <a:lnTo>
                  <a:pt x="0" y="0"/>
                </a:lnTo>
              </a:path>
            </a:pathLst>
          </a:custGeom>
          <a:ln w="9525"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rtl="0" fontAlgn="base">
              <a:spcBef>
                <a:spcPct val="0"/>
              </a:spcBef>
              <a:spcAft>
                <a:spcPct val="0"/>
              </a:spcAft>
            </a:pPr>
            <a:endParaRPr lang="es-mx" sz="2000" dirty="0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648252A8-88CA-4D36-BFAC-3087EF7D563D}"/>
              </a:ext>
            </a:extLst>
          </p:cNvPr>
          <p:cNvSpPr txBox="1"/>
          <p:nvPr/>
        </p:nvSpPr>
        <p:spPr>
          <a:xfrm>
            <a:off x="2657844" y="6200585"/>
            <a:ext cx="3436568" cy="21544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>
            <a:defPPr>
              <a:defRPr lang="es-mx"/>
            </a:defPPr>
            <a:lvl1pPr algn="ctr">
              <a:defRPr sz="1400">
                <a:solidFill>
                  <a:schemeClr val="accent1"/>
                </a:solidFill>
                <a:latin typeface="+mj-lt"/>
                <a:cs typeface="Segoe UI Light" panose="020B0502040204020203" pitchFamily="34" charset="0"/>
              </a:defRPr>
            </a:lvl1pPr>
          </a:lstStyle>
          <a:p>
            <a:pPr rtl="0"/>
            <a:r>
              <a:rPr lang="es-mx" b="0" i="0" u="none" baseline="0" dirty="0">
                <a:solidFill>
                  <a:schemeClr val="tx1"/>
                </a:solidFill>
                <a:cs typeface="Segoe UI Light"/>
              </a:rPr>
              <a:t>Azure Security Center y Azure </a:t>
            </a:r>
            <a:r>
              <a:rPr lang="es-mx" b="0" i="0" u="none" baseline="0" dirty="0" err="1">
                <a:solidFill>
                  <a:schemeClr val="tx1"/>
                </a:solidFill>
                <a:cs typeface="Segoe UI Light"/>
              </a:rPr>
              <a:t>Sentinel</a:t>
            </a:r>
          </a:p>
        </p:txBody>
      </p: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5CE790A6-7EED-4956-BCD5-4BB3925A4716}"/>
              </a:ext>
            </a:extLst>
          </p:cNvPr>
          <p:cNvGrpSpPr/>
          <p:nvPr/>
        </p:nvGrpSpPr>
        <p:grpSpPr>
          <a:xfrm>
            <a:off x="709365" y="2244341"/>
            <a:ext cx="464612" cy="464612"/>
            <a:chOff x="504197" y="4842270"/>
            <a:chExt cx="464612" cy="464612"/>
          </a:xfrm>
        </p:grpSpPr>
        <p:sp>
          <p:nvSpPr>
            <p:cNvPr id="111" name="Oval 110">
              <a:extLst>
                <a:ext uri="{FF2B5EF4-FFF2-40B4-BE49-F238E27FC236}">
                  <a16:creationId xmlns:a16="http://schemas.microsoft.com/office/drawing/2014/main" id="{B8FB16B6-08C7-42D1-986B-48B8D6145EE6}"/>
                </a:ext>
              </a:extLst>
            </p:cNvPr>
            <p:cNvSpPr/>
            <p:nvPr/>
          </p:nvSpPr>
          <p:spPr bwMode="auto">
            <a:xfrm>
              <a:off x="504197" y="4842270"/>
              <a:ext cx="464612" cy="464612"/>
            </a:xfrm>
            <a:prstGeom prst="ellips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rtl="0" fontAlgn="base">
                <a:spcBef>
                  <a:spcPct val="0"/>
                </a:spcBef>
                <a:spcAft>
                  <a:spcPct val="0"/>
                </a:spcAft>
              </a:pPr>
              <a:endParaRPr lang="es-mx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12" name="Picture 111">
              <a:extLst>
                <a:ext uri="{FF2B5EF4-FFF2-40B4-BE49-F238E27FC236}">
                  <a16:creationId xmlns:a16="http://schemas.microsoft.com/office/drawing/2014/main" id="{5228C947-4ED1-4A01-B31D-8CC0933F12B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73142" y="4902274"/>
              <a:ext cx="324883" cy="324883"/>
            </a:xfrm>
            <a:prstGeom prst="rect">
              <a:avLst/>
            </a:prstGeom>
          </p:spPr>
        </p:pic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6FE917A2-BE5A-45BE-93DE-A09C3B4BB25E}"/>
              </a:ext>
            </a:extLst>
          </p:cNvPr>
          <p:cNvGrpSpPr/>
          <p:nvPr/>
        </p:nvGrpSpPr>
        <p:grpSpPr>
          <a:xfrm>
            <a:off x="1675144" y="2244341"/>
            <a:ext cx="464612" cy="464612"/>
            <a:chOff x="1469976" y="4842270"/>
            <a:chExt cx="464612" cy="464612"/>
          </a:xfrm>
        </p:grpSpPr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C47A3073-6D93-464F-90F9-EFD53886C4FB}"/>
                </a:ext>
              </a:extLst>
            </p:cNvPr>
            <p:cNvSpPr/>
            <p:nvPr/>
          </p:nvSpPr>
          <p:spPr bwMode="auto">
            <a:xfrm>
              <a:off x="1469976" y="4842270"/>
              <a:ext cx="464612" cy="464612"/>
            </a:xfrm>
            <a:prstGeom prst="ellips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rtl="0" fontAlgn="base">
                <a:spcBef>
                  <a:spcPct val="0"/>
                </a:spcBef>
                <a:spcAft>
                  <a:spcPct val="0"/>
                </a:spcAft>
              </a:pPr>
              <a:endParaRPr lang="es-mx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5" name="Freeform 5">
              <a:extLst>
                <a:ext uri="{FF2B5EF4-FFF2-40B4-BE49-F238E27FC236}">
                  <a16:creationId xmlns:a16="http://schemas.microsoft.com/office/drawing/2014/main" id="{318DF9E5-DD85-4AB3-8F7D-5352A9C632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3063" y="4933950"/>
              <a:ext cx="120650" cy="276225"/>
            </a:xfrm>
            <a:custGeom>
              <a:avLst/>
              <a:gdLst>
                <a:gd name="T0" fmla="*/ 22 w 148"/>
                <a:gd name="T1" fmla="*/ 317 h 338"/>
                <a:gd name="T2" fmla="*/ 22 w 148"/>
                <a:gd name="T3" fmla="*/ 317 h 338"/>
                <a:gd name="T4" fmla="*/ 45 w 148"/>
                <a:gd name="T5" fmla="*/ 333 h 338"/>
                <a:gd name="T6" fmla="*/ 74 w 148"/>
                <a:gd name="T7" fmla="*/ 338 h 338"/>
                <a:gd name="T8" fmla="*/ 103 w 148"/>
                <a:gd name="T9" fmla="*/ 333 h 338"/>
                <a:gd name="T10" fmla="*/ 126 w 148"/>
                <a:gd name="T11" fmla="*/ 317 h 338"/>
                <a:gd name="T12" fmla="*/ 142 w 148"/>
                <a:gd name="T13" fmla="*/ 293 h 338"/>
                <a:gd name="T14" fmla="*/ 148 w 148"/>
                <a:gd name="T15" fmla="*/ 264 h 338"/>
                <a:gd name="T16" fmla="*/ 148 w 148"/>
                <a:gd name="T17" fmla="*/ 63 h 338"/>
                <a:gd name="T18" fmla="*/ 127 w 148"/>
                <a:gd name="T19" fmla="*/ 63 h 338"/>
                <a:gd name="T20" fmla="*/ 127 w 148"/>
                <a:gd name="T21" fmla="*/ 264 h 338"/>
                <a:gd name="T22" fmla="*/ 123 w 148"/>
                <a:gd name="T23" fmla="*/ 285 h 338"/>
                <a:gd name="T24" fmla="*/ 111 w 148"/>
                <a:gd name="T25" fmla="*/ 302 h 338"/>
                <a:gd name="T26" fmla="*/ 94 w 148"/>
                <a:gd name="T27" fmla="*/ 313 h 338"/>
                <a:gd name="T28" fmla="*/ 74 w 148"/>
                <a:gd name="T29" fmla="*/ 317 h 338"/>
                <a:gd name="T30" fmla="*/ 53 w 148"/>
                <a:gd name="T31" fmla="*/ 313 h 338"/>
                <a:gd name="T32" fmla="*/ 37 w 148"/>
                <a:gd name="T33" fmla="*/ 302 h 338"/>
                <a:gd name="T34" fmla="*/ 25 w 148"/>
                <a:gd name="T35" fmla="*/ 285 h 338"/>
                <a:gd name="T36" fmla="*/ 21 w 148"/>
                <a:gd name="T37" fmla="*/ 264 h 338"/>
                <a:gd name="T38" fmla="*/ 21 w 148"/>
                <a:gd name="T39" fmla="*/ 53 h 338"/>
                <a:gd name="T40" fmla="*/ 23 w 148"/>
                <a:gd name="T41" fmla="*/ 40 h 338"/>
                <a:gd name="T42" fmla="*/ 30 w 148"/>
                <a:gd name="T43" fmla="*/ 30 h 338"/>
                <a:gd name="T44" fmla="*/ 40 w 148"/>
                <a:gd name="T45" fmla="*/ 24 h 338"/>
                <a:gd name="T46" fmla="*/ 53 w 148"/>
                <a:gd name="T47" fmla="*/ 21 h 338"/>
                <a:gd name="T48" fmla="*/ 65 w 148"/>
                <a:gd name="T49" fmla="*/ 24 h 338"/>
                <a:gd name="T50" fmla="*/ 75 w 148"/>
                <a:gd name="T51" fmla="*/ 30 h 338"/>
                <a:gd name="T52" fmla="*/ 82 w 148"/>
                <a:gd name="T53" fmla="*/ 40 h 338"/>
                <a:gd name="T54" fmla="*/ 84 w 148"/>
                <a:gd name="T55" fmla="*/ 53 h 338"/>
                <a:gd name="T56" fmla="*/ 84 w 148"/>
                <a:gd name="T57" fmla="*/ 264 h 338"/>
                <a:gd name="T58" fmla="*/ 81 w 148"/>
                <a:gd name="T59" fmla="*/ 272 h 338"/>
                <a:gd name="T60" fmla="*/ 74 w 148"/>
                <a:gd name="T61" fmla="*/ 275 h 338"/>
                <a:gd name="T62" fmla="*/ 66 w 148"/>
                <a:gd name="T63" fmla="*/ 272 h 338"/>
                <a:gd name="T64" fmla="*/ 63 w 148"/>
                <a:gd name="T65" fmla="*/ 264 h 338"/>
                <a:gd name="T66" fmla="*/ 63 w 148"/>
                <a:gd name="T67" fmla="*/ 85 h 338"/>
                <a:gd name="T68" fmla="*/ 42 w 148"/>
                <a:gd name="T69" fmla="*/ 85 h 338"/>
                <a:gd name="T70" fmla="*/ 42 w 148"/>
                <a:gd name="T71" fmla="*/ 264 h 338"/>
                <a:gd name="T72" fmla="*/ 45 w 148"/>
                <a:gd name="T73" fmla="*/ 277 h 338"/>
                <a:gd name="T74" fmla="*/ 51 w 148"/>
                <a:gd name="T75" fmla="*/ 287 h 338"/>
                <a:gd name="T76" fmla="*/ 61 w 148"/>
                <a:gd name="T77" fmla="*/ 294 h 338"/>
                <a:gd name="T78" fmla="*/ 74 w 148"/>
                <a:gd name="T79" fmla="*/ 296 h 338"/>
                <a:gd name="T80" fmla="*/ 86 w 148"/>
                <a:gd name="T81" fmla="*/ 294 h 338"/>
                <a:gd name="T82" fmla="*/ 96 w 148"/>
                <a:gd name="T83" fmla="*/ 287 h 338"/>
                <a:gd name="T84" fmla="*/ 103 w 148"/>
                <a:gd name="T85" fmla="*/ 277 h 338"/>
                <a:gd name="T86" fmla="*/ 106 w 148"/>
                <a:gd name="T87" fmla="*/ 264 h 338"/>
                <a:gd name="T88" fmla="*/ 106 w 148"/>
                <a:gd name="T89" fmla="*/ 53 h 338"/>
                <a:gd name="T90" fmla="*/ 101 w 148"/>
                <a:gd name="T91" fmla="*/ 32 h 338"/>
                <a:gd name="T92" fmla="*/ 90 w 148"/>
                <a:gd name="T93" fmla="*/ 15 h 338"/>
                <a:gd name="T94" fmla="*/ 73 w 148"/>
                <a:gd name="T95" fmla="*/ 4 h 338"/>
                <a:gd name="T96" fmla="*/ 53 w 148"/>
                <a:gd name="T97" fmla="*/ 0 h 338"/>
                <a:gd name="T98" fmla="*/ 32 w 148"/>
                <a:gd name="T99" fmla="*/ 4 h 338"/>
                <a:gd name="T100" fmla="*/ 15 w 148"/>
                <a:gd name="T101" fmla="*/ 15 h 338"/>
                <a:gd name="T102" fmla="*/ 4 w 148"/>
                <a:gd name="T103" fmla="*/ 32 h 338"/>
                <a:gd name="T104" fmla="*/ 0 w 148"/>
                <a:gd name="T105" fmla="*/ 53 h 338"/>
                <a:gd name="T106" fmla="*/ 0 w 148"/>
                <a:gd name="T107" fmla="*/ 264 h 338"/>
                <a:gd name="T108" fmla="*/ 6 w 148"/>
                <a:gd name="T109" fmla="*/ 293 h 338"/>
                <a:gd name="T110" fmla="*/ 22 w 148"/>
                <a:gd name="T111" fmla="*/ 317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8" h="338">
                  <a:moveTo>
                    <a:pt x="22" y="317"/>
                  </a:moveTo>
                  <a:lnTo>
                    <a:pt x="22" y="317"/>
                  </a:lnTo>
                  <a:cubicBezTo>
                    <a:pt x="28" y="323"/>
                    <a:pt x="36" y="329"/>
                    <a:pt x="45" y="333"/>
                  </a:cubicBezTo>
                  <a:cubicBezTo>
                    <a:pt x="54" y="337"/>
                    <a:pt x="64" y="338"/>
                    <a:pt x="74" y="338"/>
                  </a:cubicBezTo>
                  <a:cubicBezTo>
                    <a:pt x="84" y="338"/>
                    <a:pt x="94" y="337"/>
                    <a:pt x="103" y="333"/>
                  </a:cubicBezTo>
                  <a:cubicBezTo>
                    <a:pt x="112" y="329"/>
                    <a:pt x="120" y="323"/>
                    <a:pt x="126" y="317"/>
                  </a:cubicBezTo>
                  <a:cubicBezTo>
                    <a:pt x="133" y="310"/>
                    <a:pt x="138" y="302"/>
                    <a:pt x="142" y="293"/>
                  </a:cubicBezTo>
                  <a:cubicBezTo>
                    <a:pt x="146" y="284"/>
                    <a:pt x="148" y="275"/>
                    <a:pt x="148" y="264"/>
                  </a:cubicBezTo>
                  <a:lnTo>
                    <a:pt x="148" y="63"/>
                  </a:lnTo>
                  <a:lnTo>
                    <a:pt x="127" y="63"/>
                  </a:lnTo>
                  <a:lnTo>
                    <a:pt x="127" y="264"/>
                  </a:lnTo>
                  <a:cubicBezTo>
                    <a:pt x="127" y="272"/>
                    <a:pt x="125" y="279"/>
                    <a:pt x="123" y="285"/>
                  </a:cubicBezTo>
                  <a:cubicBezTo>
                    <a:pt x="120" y="291"/>
                    <a:pt x="116" y="297"/>
                    <a:pt x="111" y="302"/>
                  </a:cubicBezTo>
                  <a:cubicBezTo>
                    <a:pt x="106" y="306"/>
                    <a:pt x="101" y="310"/>
                    <a:pt x="94" y="313"/>
                  </a:cubicBezTo>
                  <a:cubicBezTo>
                    <a:pt x="88" y="316"/>
                    <a:pt x="81" y="317"/>
                    <a:pt x="74" y="317"/>
                  </a:cubicBezTo>
                  <a:cubicBezTo>
                    <a:pt x="67" y="317"/>
                    <a:pt x="60" y="316"/>
                    <a:pt x="53" y="313"/>
                  </a:cubicBezTo>
                  <a:cubicBezTo>
                    <a:pt x="47" y="310"/>
                    <a:pt x="41" y="306"/>
                    <a:pt x="37" y="302"/>
                  </a:cubicBezTo>
                  <a:cubicBezTo>
                    <a:pt x="32" y="297"/>
                    <a:pt x="28" y="291"/>
                    <a:pt x="25" y="285"/>
                  </a:cubicBezTo>
                  <a:cubicBezTo>
                    <a:pt x="22" y="279"/>
                    <a:pt x="21" y="272"/>
                    <a:pt x="21" y="264"/>
                  </a:cubicBezTo>
                  <a:lnTo>
                    <a:pt x="21" y="53"/>
                  </a:lnTo>
                  <a:cubicBezTo>
                    <a:pt x="21" y="48"/>
                    <a:pt x="22" y="44"/>
                    <a:pt x="23" y="40"/>
                  </a:cubicBezTo>
                  <a:cubicBezTo>
                    <a:pt x="25" y="37"/>
                    <a:pt x="27" y="33"/>
                    <a:pt x="30" y="30"/>
                  </a:cubicBezTo>
                  <a:cubicBezTo>
                    <a:pt x="33" y="27"/>
                    <a:pt x="36" y="25"/>
                    <a:pt x="40" y="24"/>
                  </a:cubicBezTo>
                  <a:cubicBezTo>
                    <a:pt x="44" y="22"/>
                    <a:pt x="48" y="21"/>
                    <a:pt x="53" y="21"/>
                  </a:cubicBezTo>
                  <a:cubicBezTo>
                    <a:pt x="57" y="21"/>
                    <a:pt x="61" y="22"/>
                    <a:pt x="65" y="24"/>
                  </a:cubicBezTo>
                  <a:cubicBezTo>
                    <a:pt x="69" y="25"/>
                    <a:pt x="72" y="27"/>
                    <a:pt x="75" y="30"/>
                  </a:cubicBezTo>
                  <a:cubicBezTo>
                    <a:pt x="78" y="33"/>
                    <a:pt x="80" y="37"/>
                    <a:pt x="82" y="40"/>
                  </a:cubicBezTo>
                  <a:cubicBezTo>
                    <a:pt x="84" y="44"/>
                    <a:pt x="84" y="48"/>
                    <a:pt x="84" y="53"/>
                  </a:cubicBezTo>
                  <a:lnTo>
                    <a:pt x="84" y="264"/>
                  </a:lnTo>
                  <a:cubicBezTo>
                    <a:pt x="84" y="267"/>
                    <a:pt x="83" y="270"/>
                    <a:pt x="81" y="272"/>
                  </a:cubicBezTo>
                  <a:cubicBezTo>
                    <a:pt x="79" y="274"/>
                    <a:pt x="77" y="275"/>
                    <a:pt x="74" y="275"/>
                  </a:cubicBezTo>
                  <a:cubicBezTo>
                    <a:pt x="71" y="275"/>
                    <a:pt x="68" y="274"/>
                    <a:pt x="66" y="272"/>
                  </a:cubicBezTo>
                  <a:cubicBezTo>
                    <a:pt x="64" y="270"/>
                    <a:pt x="63" y="267"/>
                    <a:pt x="63" y="264"/>
                  </a:cubicBezTo>
                  <a:lnTo>
                    <a:pt x="63" y="85"/>
                  </a:lnTo>
                  <a:lnTo>
                    <a:pt x="42" y="85"/>
                  </a:lnTo>
                  <a:lnTo>
                    <a:pt x="42" y="264"/>
                  </a:lnTo>
                  <a:cubicBezTo>
                    <a:pt x="42" y="269"/>
                    <a:pt x="43" y="273"/>
                    <a:pt x="45" y="277"/>
                  </a:cubicBezTo>
                  <a:cubicBezTo>
                    <a:pt x="46" y="281"/>
                    <a:pt x="48" y="284"/>
                    <a:pt x="51" y="287"/>
                  </a:cubicBezTo>
                  <a:cubicBezTo>
                    <a:pt x="54" y="290"/>
                    <a:pt x="58" y="292"/>
                    <a:pt x="61" y="294"/>
                  </a:cubicBezTo>
                  <a:cubicBezTo>
                    <a:pt x="65" y="295"/>
                    <a:pt x="69" y="296"/>
                    <a:pt x="74" y="296"/>
                  </a:cubicBezTo>
                  <a:cubicBezTo>
                    <a:pt x="78" y="296"/>
                    <a:pt x="82" y="295"/>
                    <a:pt x="86" y="294"/>
                  </a:cubicBezTo>
                  <a:cubicBezTo>
                    <a:pt x="90" y="292"/>
                    <a:pt x="93" y="290"/>
                    <a:pt x="96" y="287"/>
                  </a:cubicBezTo>
                  <a:cubicBezTo>
                    <a:pt x="99" y="284"/>
                    <a:pt x="101" y="281"/>
                    <a:pt x="103" y="277"/>
                  </a:cubicBezTo>
                  <a:cubicBezTo>
                    <a:pt x="105" y="273"/>
                    <a:pt x="106" y="269"/>
                    <a:pt x="106" y="264"/>
                  </a:cubicBezTo>
                  <a:lnTo>
                    <a:pt x="106" y="53"/>
                  </a:lnTo>
                  <a:cubicBezTo>
                    <a:pt x="106" y="45"/>
                    <a:pt x="104" y="39"/>
                    <a:pt x="101" y="32"/>
                  </a:cubicBezTo>
                  <a:cubicBezTo>
                    <a:pt x="99" y="26"/>
                    <a:pt x="95" y="20"/>
                    <a:pt x="90" y="15"/>
                  </a:cubicBezTo>
                  <a:cubicBezTo>
                    <a:pt x="85" y="11"/>
                    <a:pt x="80" y="7"/>
                    <a:pt x="73" y="4"/>
                  </a:cubicBezTo>
                  <a:cubicBezTo>
                    <a:pt x="67" y="1"/>
                    <a:pt x="60" y="0"/>
                    <a:pt x="53" y="0"/>
                  </a:cubicBezTo>
                  <a:cubicBezTo>
                    <a:pt x="45" y="0"/>
                    <a:pt x="39" y="1"/>
                    <a:pt x="32" y="4"/>
                  </a:cubicBezTo>
                  <a:cubicBezTo>
                    <a:pt x="26" y="7"/>
                    <a:pt x="20" y="11"/>
                    <a:pt x="15" y="15"/>
                  </a:cubicBezTo>
                  <a:cubicBezTo>
                    <a:pt x="11" y="20"/>
                    <a:pt x="7" y="26"/>
                    <a:pt x="4" y="32"/>
                  </a:cubicBezTo>
                  <a:cubicBezTo>
                    <a:pt x="1" y="39"/>
                    <a:pt x="0" y="45"/>
                    <a:pt x="0" y="53"/>
                  </a:cubicBezTo>
                  <a:lnTo>
                    <a:pt x="0" y="264"/>
                  </a:lnTo>
                  <a:cubicBezTo>
                    <a:pt x="0" y="275"/>
                    <a:pt x="2" y="284"/>
                    <a:pt x="6" y="293"/>
                  </a:cubicBezTo>
                  <a:cubicBezTo>
                    <a:pt x="10" y="302"/>
                    <a:pt x="15" y="310"/>
                    <a:pt x="22" y="317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D43CAFF9-7F9D-40A9-A711-9F6ACABF65A8}"/>
              </a:ext>
            </a:extLst>
          </p:cNvPr>
          <p:cNvGrpSpPr/>
          <p:nvPr/>
        </p:nvGrpSpPr>
        <p:grpSpPr>
          <a:xfrm>
            <a:off x="2968909" y="2244341"/>
            <a:ext cx="464612" cy="464612"/>
            <a:chOff x="2763741" y="4842270"/>
            <a:chExt cx="464612" cy="464612"/>
          </a:xfrm>
        </p:grpSpPr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01F8EE9A-B210-4356-B1A2-16A8AAB9F1D0}"/>
                </a:ext>
              </a:extLst>
            </p:cNvPr>
            <p:cNvSpPr/>
            <p:nvPr/>
          </p:nvSpPr>
          <p:spPr bwMode="auto">
            <a:xfrm>
              <a:off x="2763741" y="4842270"/>
              <a:ext cx="464612" cy="464612"/>
            </a:xfrm>
            <a:prstGeom prst="ellips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rtl="0" fontAlgn="base">
                <a:spcBef>
                  <a:spcPct val="0"/>
                </a:spcBef>
                <a:spcAft>
                  <a:spcPct val="0"/>
                </a:spcAft>
              </a:pPr>
              <a:endParaRPr lang="es-mx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18" name="Picture 117">
              <a:extLst>
                <a:ext uri="{FF2B5EF4-FFF2-40B4-BE49-F238E27FC236}">
                  <a16:creationId xmlns:a16="http://schemas.microsoft.com/office/drawing/2014/main" id="{79131CBF-2A15-46DA-A2BC-012CF9A2184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856595" y="4935124"/>
              <a:ext cx="278904" cy="278904"/>
            </a:xfrm>
            <a:prstGeom prst="rect">
              <a:avLst/>
            </a:prstGeom>
          </p:spPr>
        </p:pic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B17E8E7C-7A65-4AA4-AA26-E734BBCBCE6C}"/>
              </a:ext>
            </a:extLst>
          </p:cNvPr>
          <p:cNvGrpSpPr/>
          <p:nvPr/>
        </p:nvGrpSpPr>
        <p:grpSpPr>
          <a:xfrm>
            <a:off x="7397014" y="2244341"/>
            <a:ext cx="464612" cy="464612"/>
            <a:chOff x="7191846" y="4842270"/>
            <a:chExt cx="464612" cy="464612"/>
          </a:xfrm>
        </p:grpSpPr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3BF26CF5-9E97-47A0-8092-54F1AC4A31BF}"/>
                </a:ext>
              </a:extLst>
            </p:cNvPr>
            <p:cNvSpPr/>
            <p:nvPr/>
          </p:nvSpPr>
          <p:spPr bwMode="auto">
            <a:xfrm>
              <a:off x="7191846" y="4842270"/>
              <a:ext cx="464612" cy="464612"/>
            </a:xfrm>
            <a:prstGeom prst="ellips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rtl="0" fontAlgn="base">
                <a:spcBef>
                  <a:spcPct val="0"/>
                </a:spcBef>
                <a:spcAft>
                  <a:spcPct val="0"/>
                </a:spcAft>
              </a:pPr>
              <a:endParaRPr lang="es-mx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21" name="Graphic 120">
              <a:extLst>
                <a:ext uri="{FF2B5EF4-FFF2-40B4-BE49-F238E27FC236}">
                  <a16:creationId xmlns:a16="http://schemas.microsoft.com/office/drawing/2014/main" id="{8377331D-0B5A-46E7-890D-5688DE848C9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267620" y="4918045"/>
              <a:ext cx="313064" cy="313062"/>
            </a:xfrm>
            <a:prstGeom prst="rect">
              <a:avLst/>
            </a:prstGeom>
          </p:spPr>
        </p:pic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3CAB3698-C112-4723-9240-3292FB57ACD9}"/>
              </a:ext>
            </a:extLst>
          </p:cNvPr>
          <p:cNvGrpSpPr/>
          <p:nvPr/>
        </p:nvGrpSpPr>
        <p:grpSpPr>
          <a:xfrm>
            <a:off x="5369420" y="2358148"/>
            <a:ext cx="331324" cy="202718"/>
            <a:chOff x="5340351" y="5414963"/>
            <a:chExt cx="241300" cy="147638"/>
          </a:xfrm>
        </p:grpSpPr>
        <p:sp>
          <p:nvSpPr>
            <p:cNvPr id="123" name="Oval 9">
              <a:extLst>
                <a:ext uri="{FF2B5EF4-FFF2-40B4-BE49-F238E27FC236}">
                  <a16:creationId xmlns:a16="http://schemas.microsoft.com/office/drawing/2014/main" id="{D400C9DA-BC75-4A2F-B17B-B520B5F7E9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59401" y="5414963"/>
              <a:ext cx="147638" cy="147638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  <p:sp>
          <p:nvSpPr>
            <p:cNvPr id="124" name="Freeform 10">
              <a:extLst>
                <a:ext uri="{FF2B5EF4-FFF2-40B4-BE49-F238E27FC236}">
                  <a16:creationId xmlns:a16="http://schemas.microsoft.com/office/drawing/2014/main" id="{42908B6B-D65F-4E40-AA27-7B04EE1481C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0351" y="5507038"/>
              <a:ext cx="241300" cy="55563"/>
            </a:xfrm>
            <a:custGeom>
              <a:avLst/>
              <a:gdLst>
                <a:gd name="T0" fmla="*/ 490 w 554"/>
                <a:gd name="T1" fmla="*/ 128 h 128"/>
                <a:gd name="T2" fmla="*/ 64 w 554"/>
                <a:gd name="T3" fmla="*/ 128 h 128"/>
                <a:gd name="T4" fmla="*/ 0 w 554"/>
                <a:gd name="T5" fmla="*/ 64 h 128"/>
                <a:gd name="T6" fmla="*/ 0 w 554"/>
                <a:gd name="T7" fmla="*/ 64 h 128"/>
                <a:gd name="T8" fmla="*/ 64 w 554"/>
                <a:gd name="T9" fmla="*/ 0 h 128"/>
                <a:gd name="T10" fmla="*/ 490 w 554"/>
                <a:gd name="T11" fmla="*/ 0 h 128"/>
                <a:gd name="T12" fmla="*/ 554 w 554"/>
                <a:gd name="T13" fmla="*/ 64 h 128"/>
                <a:gd name="T14" fmla="*/ 554 w 554"/>
                <a:gd name="T15" fmla="*/ 64 h 128"/>
                <a:gd name="T16" fmla="*/ 490 w 554"/>
                <a:gd name="T17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4" h="128">
                  <a:moveTo>
                    <a:pt x="490" y="128"/>
                  </a:moveTo>
                  <a:cubicBezTo>
                    <a:pt x="64" y="128"/>
                    <a:pt x="64" y="128"/>
                    <a:pt x="64" y="128"/>
                  </a:cubicBezTo>
                  <a:cubicBezTo>
                    <a:pt x="28" y="128"/>
                    <a:pt x="0" y="99"/>
                    <a:pt x="0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8" y="0"/>
                    <a:pt x="64" y="0"/>
                  </a:cubicBezTo>
                  <a:cubicBezTo>
                    <a:pt x="490" y="0"/>
                    <a:pt x="490" y="0"/>
                    <a:pt x="490" y="0"/>
                  </a:cubicBezTo>
                  <a:cubicBezTo>
                    <a:pt x="526" y="0"/>
                    <a:pt x="554" y="29"/>
                    <a:pt x="554" y="64"/>
                  </a:cubicBezTo>
                  <a:cubicBezTo>
                    <a:pt x="554" y="64"/>
                    <a:pt x="554" y="64"/>
                    <a:pt x="554" y="64"/>
                  </a:cubicBezTo>
                  <a:cubicBezTo>
                    <a:pt x="554" y="99"/>
                    <a:pt x="526" y="128"/>
                    <a:pt x="490" y="128"/>
                  </a:cubicBez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  <p:sp>
          <p:nvSpPr>
            <p:cNvPr id="125" name="Oval 11">
              <a:extLst>
                <a:ext uri="{FF2B5EF4-FFF2-40B4-BE49-F238E27FC236}">
                  <a16:creationId xmlns:a16="http://schemas.microsoft.com/office/drawing/2014/main" id="{F6CDC64E-0C03-476A-A3F0-7A43F25720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5763" y="5446713"/>
              <a:ext cx="96838" cy="96838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mx"/>
            </a:p>
          </p:txBody>
        </p: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6D05DAD3-FC97-4F98-9AA5-0D346E91B3D2}"/>
              </a:ext>
            </a:extLst>
          </p:cNvPr>
          <p:cNvGrpSpPr/>
          <p:nvPr/>
        </p:nvGrpSpPr>
        <p:grpSpPr>
          <a:xfrm>
            <a:off x="6983163" y="3358209"/>
            <a:ext cx="464612" cy="464612"/>
            <a:chOff x="6777995" y="5956138"/>
            <a:chExt cx="464612" cy="464612"/>
          </a:xfrm>
        </p:grpSpPr>
        <p:sp>
          <p:nvSpPr>
            <p:cNvPr id="127" name="Oval 126">
              <a:extLst>
                <a:ext uri="{FF2B5EF4-FFF2-40B4-BE49-F238E27FC236}">
                  <a16:creationId xmlns:a16="http://schemas.microsoft.com/office/drawing/2014/main" id="{1C390A21-A216-4636-98BD-0779DC126018}"/>
                </a:ext>
              </a:extLst>
            </p:cNvPr>
            <p:cNvSpPr/>
            <p:nvPr/>
          </p:nvSpPr>
          <p:spPr bwMode="auto">
            <a:xfrm>
              <a:off x="6777995" y="5956138"/>
              <a:ext cx="464612" cy="464612"/>
            </a:xfrm>
            <a:prstGeom prst="ellips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rtl="0" fontAlgn="base">
                <a:spcBef>
                  <a:spcPct val="0"/>
                </a:spcBef>
                <a:spcAft>
                  <a:spcPct val="0"/>
                </a:spcAft>
              </a:pPr>
              <a:endParaRPr lang="es-mx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28" name="Picture 127">
              <a:extLst>
                <a:ext uri="{FF2B5EF4-FFF2-40B4-BE49-F238E27FC236}">
                  <a16:creationId xmlns:a16="http://schemas.microsoft.com/office/drawing/2014/main" id="{9E6EAC8B-130D-4664-BCD8-25E766171E9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6871091" y="6049234"/>
              <a:ext cx="278420" cy="278420"/>
            </a:xfrm>
            <a:prstGeom prst="rect">
              <a:avLst/>
            </a:prstGeom>
          </p:spPr>
        </p:pic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433A83F3-82DF-4574-B070-34EF62C954D7}"/>
              </a:ext>
            </a:extLst>
          </p:cNvPr>
          <p:cNvGrpSpPr/>
          <p:nvPr/>
        </p:nvGrpSpPr>
        <p:grpSpPr>
          <a:xfrm>
            <a:off x="7397014" y="4180700"/>
            <a:ext cx="464612" cy="464612"/>
            <a:chOff x="7191846" y="6778629"/>
            <a:chExt cx="464612" cy="464612"/>
          </a:xfrm>
        </p:grpSpPr>
        <p:sp>
          <p:nvSpPr>
            <p:cNvPr id="130" name="Oval 129">
              <a:extLst>
                <a:ext uri="{FF2B5EF4-FFF2-40B4-BE49-F238E27FC236}">
                  <a16:creationId xmlns:a16="http://schemas.microsoft.com/office/drawing/2014/main" id="{05A5DCBC-B630-4930-8067-AD9758E6F31D}"/>
                </a:ext>
              </a:extLst>
            </p:cNvPr>
            <p:cNvSpPr/>
            <p:nvPr/>
          </p:nvSpPr>
          <p:spPr bwMode="auto">
            <a:xfrm>
              <a:off x="7191846" y="6778629"/>
              <a:ext cx="464612" cy="464612"/>
            </a:xfrm>
            <a:prstGeom prst="ellips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rtl="0" fontAlgn="base">
                <a:spcBef>
                  <a:spcPct val="0"/>
                </a:spcBef>
                <a:spcAft>
                  <a:spcPct val="0"/>
                </a:spcAft>
              </a:pPr>
              <a:endParaRPr lang="es-mx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31" name="Picture 130">
              <a:extLst>
                <a:ext uri="{FF2B5EF4-FFF2-40B4-BE49-F238E27FC236}">
                  <a16:creationId xmlns:a16="http://schemas.microsoft.com/office/drawing/2014/main" id="{B32583BE-E2B3-474E-B964-4145DF339F91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rcRect/>
            <a:stretch/>
          </p:blipFill>
          <p:spPr>
            <a:xfrm>
              <a:off x="7277064" y="6863847"/>
              <a:ext cx="294176" cy="294176"/>
            </a:xfrm>
            <a:prstGeom prst="rect">
              <a:avLst/>
            </a:prstGeom>
            <a:solidFill>
              <a:srgbClr val="F2F2F2"/>
            </a:solidFill>
          </p:spPr>
        </p:pic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5DE79275-E08C-4173-80CF-22A0229844BC}"/>
              </a:ext>
            </a:extLst>
          </p:cNvPr>
          <p:cNvGrpSpPr/>
          <p:nvPr/>
        </p:nvGrpSpPr>
        <p:grpSpPr>
          <a:xfrm>
            <a:off x="6349896" y="4180700"/>
            <a:ext cx="464612" cy="464612"/>
            <a:chOff x="6144728" y="6778629"/>
            <a:chExt cx="464612" cy="464612"/>
          </a:xfrm>
        </p:grpSpPr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B8617B41-39F7-4F26-8FE5-2B719199BED9}"/>
                </a:ext>
              </a:extLst>
            </p:cNvPr>
            <p:cNvSpPr/>
            <p:nvPr/>
          </p:nvSpPr>
          <p:spPr bwMode="auto">
            <a:xfrm>
              <a:off x="6144728" y="6778629"/>
              <a:ext cx="464612" cy="464612"/>
            </a:xfrm>
            <a:prstGeom prst="ellips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rtl="0" fontAlgn="base">
                <a:spcBef>
                  <a:spcPct val="0"/>
                </a:spcBef>
                <a:spcAft>
                  <a:spcPct val="0"/>
                </a:spcAft>
              </a:pPr>
              <a:endParaRPr lang="es-mx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34" name="Picture 133">
              <a:extLst>
                <a:ext uri="{FF2B5EF4-FFF2-40B4-BE49-F238E27FC236}">
                  <a16:creationId xmlns:a16="http://schemas.microsoft.com/office/drawing/2014/main" id="{FF9B5C80-30FF-41C9-A33B-5BB38248E916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rcRect/>
            <a:stretch/>
          </p:blipFill>
          <p:spPr>
            <a:xfrm>
              <a:off x="6227924" y="6861825"/>
              <a:ext cx="298220" cy="298220"/>
            </a:xfrm>
            <a:prstGeom prst="rect">
              <a:avLst/>
            </a:prstGeom>
          </p:spPr>
        </p:pic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63F8E982-971A-4F20-92C0-0B4997A517C8}"/>
              </a:ext>
            </a:extLst>
          </p:cNvPr>
          <p:cNvGrpSpPr/>
          <p:nvPr/>
        </p:nvGrpSpPr>
        <p:grpSpPr>
          <a:xfrm>
            <a:off x="5302776" y="4180700"/>
            <a:ext cx="464612" cy="464612"/>
            <a:chOff x="5097608" y="6778629"/>
            <a:chExt cx="464612" cy="464612"/>
          </a:xfrm>
        </p:grpSpPr>
        <p:sp>
          <p:nvSpPr>
            <p:cNvPr id="136" name="Oval 135">
              <a:extLst>
                <a:ext uri="{FF2B5EF4-FFF2-40B4-BE49-F238E27FC236}">
                  <a16:creationId xmlns:a16="http://schemas.microsoft.com/office/drawing/2014/main" id="{CC4B90B4-A22F-4914-9131-9781A4F3513E}"/>
                </a:ext>
              </a:extLst>
            </p:cNvPr>
            <p:cNvSpPr/>
            <p:nvPr/>
          </p:nvSpPr>
          <p:spPr bwMode="auto">
            <a:xfrm>
              <a:off x="5097608" y="6778629"/>
              <a:ext cx="464612" cy="464612"/>
            </a:xfrm>
            <a:prstGeom prst="ellips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rtl="0" fontAlgn="base">
                <a:spcBef>
                  <a:spcPct val="0"/>
                </a:spcBef>
                <a:spcAft>
                  <a:spcPct val="0"/>
                </a:spcAft>
              </a:pPr>
              <a:endParaRPr lang="es-mx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37" name="Picture 136">
              <a:extLst>
                <a:ext uri="{FF2B5EF4-FFF2-40B4-BE49-F238E27FC236}">
                  <a16:creationId xmlns:a16="http://schemas.microsoft.com/office/drawing/2014/main" id="{211CBC4B-7232-43D7-98C7-C43535BE718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5175809" y="6846134"/>
              <a:ext cx="308210" cy="308210"/>
            </a:xfrm>
            <a:prstGeom prst="rect">
              <a:avLst/>
            </a:prstGeom>
          </p:spPr>
        </p:pic>
      </p:grp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AE9C8006-CCA8-4832-AE80-205A529CFD63}"/>
              </a:ext>
            </a:extLst>
          </p:cNvPr>
          <p:cNvGrpSpPr/>
          <p:nvPr/>
        </p:nvGrpSpPr>
        <p:grpSpPr>
          <a:xfrm>
            <a:off x="4255656" y="4180700"/>
            <a:ext cx="464612" cy="464612"/>
            <a:chOff x="4050488" y="6778629"/>
            <a:chExt cx="464612" cy="464612"/>
          </a:xfrm>
        </p:grpSpPr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3DC5C6F4-42ED-4CA9-97AE-59A623835651}"/>
                </a:ext>
              </a:extLst>
            </p:cNvPr>
            <p:cNvSpPr/>
            <p:nvPr/>
          </p:nvSpPr>
          <p:spPr bwMode="auto">
            <a:xfrm>
              <a:off x="4050488" y="6778629"/>
              <a:ext cx="464612" cy="464612"/>
            </a:xfrm>
            <a:prstGeom prst="ellips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rtl="0" fontAlgn="base">
                <a:spcBef>
                  <a:spcPct val="0"/>
                </a:spcBef>
                <a:spcAft>
                  <a:spcPct val="0"/>
                </a:spcAft>
              </a:pPr>
              <a:endParaRPr lang="es-mx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40" name="Picture 139">
              <a:extLst>
                <a:ext uri="{FF2B5EF4-FFF2-40B4-BE49-F238E27FC236}">
                  <a16:creationId xmlns:a16="http://schemas.microsoft.com/office/drawing/2014/main" id="{5980962B-10E1-4DD8-898E-8054E34DD096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4155259" y="6883400"/>
              <a:ext cx="255070" cy="255070"/>
            </a:xfrm>
            <a:prstGeom prst="rect">
              <a:avLst/>
            </a:prstGeom>
          </p:spPr>
        </p:pic>
      </p:grp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11106CD2-F943-425D-874D-C59AE0EF0274}"/>
              </a:ext>
            </a:extLst>
          </p:cNvPr>
          <p:cNvGrpSpPr/>
          <p:nvPr/>
        </p:nvGrpSpPr>
        <p:grpSpPr>
          <a:xfrm>
            <a:off x="3208536" y="4180700"/>
            <a:ext cx="464612" cy="464612"/>
            <a:chOff x="3003368" y="6778629"/>
            <a:chExt cx="464612" cy="464612"/>
          </a:xfrm>
        </p:grpSpPr>
        <p:sp>
          <p:nvSpPr>
            <p:cNvPr id="142" name="Oval 141">
              <a:extLst>
                <a:ext uri="{FF2B5EF4-FFF2-40B4-BE49-F238E27FC236}">
                  <a16:creationId xmlns:a16="http://schemas.microsoft.com/office/drawing/2014/main" id="{62B4265A-4202-4C92-877A-BEF55FC92F75}"/>
                </a:ext>
              </a:extLst>
            </p:cNvPr>
            <p:cNvSpPr/>
            <p:nvPr/>
          </p:nvSpPr>
          <p:spPr bwMode="auto">
            <a:xfrm>
              <a:off x="3003368" y="6778629"/>
              <a:ext cx="464612" cy="464612"/>
            </a:xfrm>
            <a:prstGeom prst="ellips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rtl="0" fontAlgn="base">
                <a:spcBef>
                  <a:spcPct val="0"/>
                </a:spcBef>
                <a:spcAft>
                  <a:spcPct val="0"/>
                </a:spcAft>
              </a:pPr>
              <a:endParaRPr lang="es-mx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43" name="Picture 142">
              <a:extLst>
                <a:ext uri="{FF2B5EF4-FFF2-40B4-BE49-F238E27FC236}">
                  <a16:creationId xmlns:a16="http://schemas.microsoft.com/office/drawing/2014/main" id="{5072F0B2-A5F6-4C35-8474-B8DE95E9819A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3047888" y="6928061"/>
              <a:ext cx="375573" cy="165749"/>
            </a:xfrm>
            <a:prstGeom prst="rect">
              <a:avLst/>
            </a:prstGeom>
          </p:spPr>
        </p:pic>
      </p:grp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B550E2C5-4F36-4597-B871-B46FEF2B03D1}"/>
              </a:ext>
            </a:extLst>
          </p:cNvPr>
          <p:cNvGrpSpPr/>
          <p:nvPr/>
        </p:nvGrpSpPr>
        <p:grpSpPr>
          <a:xfrm>
            <a:off x="2161416" y="4180700"/>
            <a:ext cx="464612" cy="464612"/>
            <a:chOff x="1956248" y="6778629"/>
            <a:chExt cx="464612" cy="464612"/>
          </a:xfrm>
        </p:grpSpPr>
        <p:sp>
          <p:nvSpPr>
            <p:cNvPr id="145" name="Oval 144">
              <a:extLst>
                <a:ext uri="{FF2B5EF4-FFF2-40B4-BE49-F238E27FC236}">
                  <a16:creationId xmlns:a16="http://schemas.microsoft.com/office/drawing/2014/main" id="{9679DC8D-DF4E-4925-91C2-1F2D1A346160}"/>
                </a:ext>
              </a:extLst>
            </p:cNvPr>
            <p:cNvSpPr/>
            <p:nvPr/>
          </p:nvSpPr>
          <p:spPr bwMode="auto">
            <a:xfrm>
              <a:off x="1956248" y="6778629"/>
              <a:ext cx="464612" cy="464612"/>
            </a:xfrm>
            <a:prstGeom prst="ellips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rtl="0" fontAlgn="base">
                <a:spcBef>
                  <a:spcPct val="0"/>
                </a:spcBef>
                <a:spcAft>
                  <a:spcPct val="0"/>
                </a:spcAft>
              </a:pPr>
              <a:endParaRPr lang="es-mx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46" name="Picture 145">
              <a:extLst>
                <a:ext uri="{FF2B5EF4-FFF2-40B4-BE49-F238E27FC236}">
                  <a16:creationId xmlns:a16="http://schemas.microsoft.com/office/drawing/2014/main" id="{B91E52DB-52EF-4B15-94FF-C830E97527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2047525" y="6857629"/>
              <a:ext cx="282058" cy="282058"/>
            </a:xfrm>
            <a:prstGeom prst="rect">
              <a:avLst/>
            </a:prstGeom>
          </p:spPr>
        </p:pic>
      </p:grp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1161B777-7BC3-4CA7-BD76-73B254974C89}"/>
              </a:ext>
            </a:extLst>
          </p:cNvPr>
          <p:cNvGrpSpPr/>
          <p:nvPr/>
        </p:nvGrpSpPr>
        <p:grpSpPr>
          <a:xfrm>
            <a:off x="709365" y="4180700"/>
            <a:ext cx="464612" cy="464612"/>
            <a:chOff x="504197" y="6778629"/>
            <a:chExt cx="464612" cy="464612"/>
          </a:xfrm>
        </p:grpSpPr>
        <p:sp>
          <p:nvSpPr>
            <p:cNvPr id="148" name="Oval 147">
              <a:extLst>
                <a:ext uri="{FF2B5EF4-FFF2-40B4-BE49-F238E27FC236}">
                  <a16:creationId xmlns:a16="http://schemas.microsoft.com/office/drawing/2014/main" id="{49CBAE6D-715D-4EE2-AAD9-F66D34E6A095}"/>
                </a:ext>
              </a:extLst>
            </p:cNvPr>
            <p:cNvSpPr/>
            <p:nvPr/>
          </p:nvSpPr>
          <p:spPr bwMode="auto">
            <a:xfrm>
              <a:off x="504197" y="6778629"/>
              <a:ext cx="464612" cy="464612"/>
            </a:xfrm>
            <a:prstGeom prst="ellips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rtl="0" fontAlgn="base">
                <a:spcBef>
                  <a:spcPct val="0"/>
                </a:spcBef>
                <a:spcAft>
                  <a:spcPct val="0"/>
                </a:spcAft>
              </a:pPr>
              <a:endParaRPr lang="es-mx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49" name="Picture 148">
              <a:extLst>
                <a:ext uri="{FF2B5EF4-FFF2-40B4-BE49-F238E27FC236}">
                  <a16:creationId xmlns:a16="http://schemas.microsoft.com/office/drawing/2014/main" id="{36A41BDD-A8D7-48F9-ADB5-C0876CE899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585896" y="6860328"/>
              <a:ext cx="301214" cy="301214"/>
            </a:xfrm>
            <a:prstGeom prst="rect">
              <a:avLst/>
            </a:prstGeom>
          </p:spPr>
        </p:pic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92EFB6BD-A7D8-473E-8CD3-E8D8B5EE782F}"/>
              </a:ext>
            </a:extLst>
          </p:cNvPr>
          <p:cNvSpPr/>
          <p:nvPr/>
        </p:nvSpPr>
        <p:spPr>
          <a:xfrm>
            <a:off x="386748" y="292404"/>
            <a:ext cx="9909777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rtl="0"/>
            <a:r>
              <a:rPr lang="es-mx" sz="3200" b="0" i="0" u="none" baseline="0" dirty="0">
                <a:solidFill>
                  <a:schemeClr val="accent1"/>
                </a:solidFill>
                <a:latin typeface="+mj-lt"/>
              </a:rPr>
              <a:t>Fortalezca sus datos contra las amenazas </a:t>
            </a:r>
            <a:r>
              <a:rPr lang="es-mx" sz="3200" b="0" i="0" u="none" baseline="0" dirty="0">
                <a:latin typeface="+mj-lt"/>
              </a:rPr>
              <a:t>con ayuda de soluciones de seguridad de un extremo a otro</a:t>
            </a:r>
          </a:p>
        </p:txBody>
      </p:sp>
      <p:pic>
        <p:nvPicPr>
          <p:cNvPr id="154" name="Graphic 32">
            <a:extLst>
              <a:ext uri="{FF2B5EF4-FFF2-40B4-BE49-F238E27FC236}">
                <a16:creationId xmlns:a16="http://schemas.microsoft.com/office/drawing/2014/main" id="{7317877B-C1CF-440B-AB82-E37457B57982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411755" y="457967"/>
            <a:ext cx="3711292" cy="807582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56297676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PROJECT_OPEN" val="0"/>
  <p:tag name="ARTICULATE_SLIDE_COUNT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FY18 Enterprise">
  <a:themeElements>
    <a:clrScheme name="Custom 4">
      <a:dk1>
        <a:srgbClr val="000000"/>
      </a:dk1>
      <a:lt1>
        <a:srgbClr val="FFFFFF"/>
      </a:lt1>
      <a:dk2>
        <a:srgbClr val="243A5E"/>
      </a:dk2>
      <a:lt2>
        <a:srgbClr val="E6E6E6"/>
      </a:lt2>
      <a:accent1>
        <a:srgbClr val="0078D4"/>
      </a:accent1>
      <a:accent2>
        <a:srgbClr val="243A5E"/>
      </a:accent2>
      <a:accent3>
        <a:srgbClr val="50E6FF"/>
      </a:accent3>
      <a:accent4>
        <a:srgbClr val="008575"/>
      </a:accent4>
      <a:accent5>
        <a:srgbClr val="274B47"/>
      </a:accent5>
      <a:accent6>
        <a:srgbClr val="737373"/>
      </a:accent6>
      <a:hlink>
        <a:srgbClr val="0078D4"/>
      </a:hlink>
      <a:folHlink>
        <a:srgbClr val="0078D4"/>
      </a:folHlink>
    </a:clrScheme>
    <a:fontScheme name="Custom 10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Y18 Enterprise" id="{E72F3315-1010-49DB-9886-4D4C2CF5FD95}" vid="{819BFA2A-E2CF-41B2-903A-3ECB1391740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C28266A38B74BB8736D79589A967D" ma:contentTypeVersion="16" ma:contentTypeDescription="Create a new document." ma:contentTypeScope="" ma:versionID="326c486aa047cea965d9b669c91a0e3d">
  <xsd:schema xmlns:xsd="http://www.w3.org/2001/XMLSchema" xmlns:xs="http://www.w3.org/2001/XMLSchema" xmlns:p="http://schemas.microsoft.com/office/2006/metadata/properties" xmlns:ns1="http://schemas.microsoft.com/sharepoint/v3" xmlns:ns2="3f419478-5607-4e24-9036-5a0e9a431bae" xmlns:ns3="f369e916-4bd8-4af9-b2c4-8613bc5330ef" targetNamespace="http://schemas.microsoft.com/office/2006/metadata/properties" ma:root="true" ma:fieldsID="f5adf2f608a6f426ea7108ba8eda9a32" ns1:_="" ns2:_="" ns3:_="">
    <xsd:import namespace="http://schemas.microsoft.com/sharepoint/v3"/>
    <xsd:import namespace="3f419478-5607-4e24-9036-5a0e9a431bae"/>
    <xsd:import namespace="f369e916-4bd8-4af9-b2c4-8613bc5330e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3:SharedWithUsers" minOccurs="0"/>
                <xsd:element ref="ns3:SharedWithDetails" minOccurs="0"/>
                <xsd:element ref="ns3:LastSharedByUser" minOccurs="0"/>
                <xsd:element ref="ns3:LastSharedByTime" minOccurs="0"/>
                <xsd:element ref="ns2:MediaServiceOCR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ServiceGenerationTime" minOccurs="0"/>
                <xsd:element ref="ns2:MediaServiceEventHashCode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2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3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419478-5607-4e24-9036-5a0e9a431ba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MediaService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69e916-4bd8-4af9-b2c4-8613bc5330ef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4" nillable="true" ma:displayName="Last Shared By User" ma:hidden="true" ma:internalName="LastSharedByUser" ma:readOnly="true">
      <xsd:simpleType>
        <xsd:restriction base="dms:Note"/>
      </xsd:simpleType>
    </xsd:element>
    <xsd:element name="LastSharedByTime" ma:index="15" nillable="true" ma:displayName="Last Shared By Time" ma:hidden="true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64C7B269-4B78-4DC1-94FA-FAD2E6080064}"/>
</file>

<file path=customXml/itemProps2.xml><?xml version="1.0" encoding="utf-8"?>
<ds:datastoreItem xmlns:ds="http://schemas.openxmlformats.org/officeDocument/2006/customXml" ds:itemID="{94866A8F-5900-4C31-84DB-6148C637747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F3BC782-4A06-498C-B87A-774AF2CF606D}">
  <ds:schemaRefs>
    <ds:schemaRef ds:uri="http://purl.org/dc/elements/1.1/"/>
    <ds:schemaRef ds:uri="http://schemas.microsoft.com/office/2006/metadata/properties"/>
    <ds:schemaRef ds:uri="0c1a6c9c-f016-4857-bf43-21b252e701d9"/>
    <ds:schemaRef ds:uri="7a20bb1a-2526-436b-a0aa-406322af6dcc"/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5</TotalTime>
  <Words>180</Words>
  <Application>Microsoft Office PowerPoint</Application>
  <PresentationFormat>Custom</PresentationFormat>
  <Paragraphs>33</Paragraphs>
  <Slides>2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3" baseType="lpstr">
      <vt:lpstr>3_FY18 Enterprise</vt:lpstr>
      <vt:lpstr>PowerPoint Presentation</vt:lpstr>
      <vt:lpstr>PowerPoint Presentation</vt:lpstr>
    </vt:vector>
  </TitlesOfParts>
  <Company>Cinco Desig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rrie Solomon</dc:creator>
  <cp:lastModifiedBy>Puriyachat Chiaworanontakun</cp:lastModifiedBy>
  <cp:revision>20</cp:revision>
  <cp:lastPrinted>2013-10-01T16:28:23Z</cp:lastPrinted>
  <dcterms:created xsi:type="dcterms:W3CDTF">2020-06-11T16:06:56Z</dcterms:created>
  <dcterms:modified xsi:type="dcterms:W3CDTF">2020-07-29T17:36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F2C28266A38B74BB8736D79589A967D</vt:lpwstr>
  </property>
  <property fmtid="{D5CDD505-2E9C-101B-9397-08002B2CF9AE}" pid="3" name="Order">
    <vt:r8>525800</vt:r8>
  </property>
  <property fmtid="{D5CDD505-2E9C-101B-9397-08002B2CF9AE}" pid="4" name="ArticulateGUID">
    <vt:lpwstr>3FE80888-A39D-4819-A3E8-F6DAB4D92860</vt:lpwstr>
  </property>
  <property fmtid="{D5CDD505-2E9C-101B-9397-08002B2CF9AE}" pid="5" name="ArticulatePath">
    <vt:lpwstr>es-MX_Security_Fortify infographics_062620</vt:lpwstr>
  </property>
  <property fmtid="{D5CDD505-2E9C-101B-9397-08002B2CF9AE}" pid="6" name="xd_Signature">
    <vt:bool>false</vt:bool>
  </property>
  <property fmtid="{D5CDD505-2E9C-101B-9397-08002B2CF9AE}" pid="7" name="xd_ProgID">
    <vt:lpwstr/>
  </property>
  <property fmtid="{D5CDD505-2E9C-101B-9397-08002B2CF9AE}" pid="8" name="_SourceUrl">
    <vt:lpwstr/>
  </property>
  <property fmtid="{D5CDD505-2E9C-101B-9397-08002B2CF9AE}" pid="9" name="_SharedFileIndex">
    <vt:lpwstr/>
  </property>
  <property fmtid="{D5CDD505-2E9C-101B-9397-08002B2CF9AE}" pid="10" name="ComplianceAssetId">
    <vt:lpwstr/>
  </property>
  <property fmtid="{D5CDD505-2E9C-101B-9397-08002B2CF9AE}" pid="11" name="TemplateUrl">
    <vt:lpwstr/>
  </property>
</Properties>
</file>